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1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9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0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21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36"/>
  </p:notesMasterIdLst>
  <p:handoutMasterIdLst>
    <p:handoutMasterId r:id="rId37"/>
  </p:handoutMasterIdLst>
  <p:sldIdLst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291" r:id="rId35"/>
  </p:sldIdLst>
  <p:sldSz cx="12192000" cy="6858000"/>
  <p:notesSz cx="6797675" cy="9926638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5" autoAdjust="0"/>
    <p:restoredTop sz="94660" autoAdjust="0"/>
  </p:normalViewPr>
  <p:slideViewPr>
    <p:cSldViewPr snapToGrid="0">
      <p:cViewPr varScale="1">
        <p:scale>
          <a:sx n="123" d="100"/>
          <a:sy n="123" d="100"/>
        </p:scale>
        <p:origin x="690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Resultat pr EK-bevis(morbank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_ * #,##0.00_ ;_ * \-#,##0.00_ ;_ * "-"??_ ;_ @_ </c:formatCode>
                <c:ptCount val="5"/>
                <c:pt idx="0">
                  <c:v>0.83</c:v>
                </c:pt>
                <c:pt idx="1">
                  <c:v>2.42</c:v>
                </c:pt>
                <c:pt idx="2">
                  <c:v>0.99</c:v>
                </c:pt>
                <c:pt idx="3">
                  <c:v>0.7336368200357164</c:v>
                </c:pt>
                <c:pt idx="4">
                  <c:v>0.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9262072"/>
        <c:axId val="99262856"/>
      </c:barChart>
      <c:catAx>
        <c:axId val="99262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9262856"/>
        <c:crosses val="autoZero"/>
        <c:auto val="1"/>
        <c:lblAlgn val="ctr"/>
        <c:lblOffset val="100"/>
        <c:noMultiLvlLbl val="0"/>
      </c:catAx>
      <c:valAx>
        <c:axId val="992628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Krone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1.0644768431584174E-2"/>
              <c:y val="0.415305022930026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0_ ;_ * \-#,##0.00_ ;_ * &quot;-&quot;??_ ;_ @_ " sourceLinked="1"/>
        <c:majorTickMark val="none"/>
        <c:minorTickMark val="none"/>
        <c:tickLblPos val="nextTo"/>
        <c:crossAx val="99262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57164066005481E-2"/>
          <c:y val="6.9890765289936013E-2"/>
          <c:w val="0.96074915450531995"/>
          <c:h val="0.832336262962166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Internt kapitalmål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5" formatCode="0.0\ %">
                  <c:v>0.125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Kolonne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Internt kapitalmål</c:v>
                </c:pt>
              </c:strCache>
            </c:strRef>
          </c:cat>
          <c:val>
            <c:numRef>
              <c:f>'Ark1'!$C$2:$C$7</c:f>
              <c:numCache>
                <c:formatCode>General</c:formatCode>
                <c:ptCount val="6"/>
                <c:pt idx="5" formatCode="0.0\ %">
                  <c:v>1.9E-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Ren kjernekapital 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68258681334543E-3"/>
                  <c:y val="-0.3834482500887568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5682586813345512E-3"/>
                  <c:y val="-0.4000495471140614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7841293406672756E-3"/>
                  <c:y val="-0.414352709951877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0.411428907827700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7841293406672756E-3"/>
                  <c:y val="-0.4015835788085426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Internt kapitalmål</c:v>
                </c:pt>
              </c:strCache>
            </c:strRef>
          </c:cat>
          <c:val>
            <c:numRef>
              <c:f>'Ark1'!$D$2:$D$7</c:f>
              <c:numCache>
                <c:formatCode>0.0\ %</c:formatCode>
                <c:ptCount val="6"/>
                <c:pt idx="0">
                  <c:v>0.154</c:v>
                </c:pt>
                <c:pt idx="1">
                  <c:v>0.16209999999999999</c:v>
                </c:pt>
                <c:pt idx="2">
                  <c:v>0.1656</c:v>
                </c:pt>
                <c:pt idx="3">
                  <c:v>0.16700000000000001</c:v>
                </c:pt>
                <c:pt idx="4">
                  <c:v>0.16300000000000001</c:v>
                </c:pt>
                <c:pt idx="5">
                  <c:v>1.0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52868264"/>
        <c:axId val="752863560"/>
      </c:barChart>
      <c:catAx>
        <c:axId val="752868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3560"/>
        <c:crosses val="autoZero"/>
        <c:auto val="1"/>
        <c:lblAlgn val="ctr"/>
        <c:lblOffset val="100"/>
        <c:noMultiLvlLbl val="0"/>
      </c:catAx>
      <c:valAx>
        <c:axId val="7528635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52868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58538385826774E-2"/>
          <c:y val="0.15711336385867591"/>
          <c:w val="0.93635396161417328"/>
          <c:h val="0.761796212980055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Utlån inklusive kredittforeta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_ * #,##0.0_ ;_ * \-#,##0.0_ ;_ * "-"??_ ;_ @_ </c:formatCode>
                <c:ptCount val="5"/>
                <c:pt idx="0">
                  <c:v>31.975282999999997</c:v>
                </c:pt>
                <c:pt idx="1">
                  <c:v>33.070075000000003</c:v>
                </c:pt>
                <c:pt idx="2">
                  <c:v>33.776207999999997</c:v>
                </c:pt>
                <c:pt idx="3">
                  <c:v>34.237037000000001</c:v>
                </c:pt>
                <c:pt idx="4">
                  <c:v>34.533562000000003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Utlån inklusive kredittforetak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C$2:$C$6</c:f>
              <c:numCache>
                <c:formatCode>_(* #,##0.0_);_(* \(#,##0.0\);_(* "-"??_);_(@_)</c:formatCode>
                <c:ptCount val="5"/>
                <c:pt idx="0">
                  <c:v>7.5314132000000029</c:v>
                </c:pt>
                <c:pt idx="1">
                  <c:v>7.7114909999999952</c:v>
                </c:pt>
                <c:pt idx="2">
                  <c:v>7.8150840000000059</c:v>
                </c:pt>
                <c:pt idx="3">
                  <c:v>7.6169980000000024</c:v>
                </c:pt>
                <c:pt idx="4">
                  <c:v>7.42767599999999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52864344"/>
        <c:axId val="752869048"/>
      </c:barChart>
      <c:catAx>
        <c:axId val="752864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9048"/>
        <c:crosses val="autoZero"/>
        <c:auto val="1"/>
        <c:lblAlgn val="ctr"/>
        <c:lblOffset val="100"/>
        <c:noMultiLvlLbl val="0"/>
      </c:catAx>
      <c:valAx>
        <c:axId val="75286904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_ ;_ * \-#,##0.0_ ;_ * &quot;-&quot;??_ ;_ @_ " sourceLinked="1"/>
        <c:majorTickMark val="none"/>
        <c:minorTickMark val="none"/>
        <c:tickLblPos val="nextTo"/>
        <c:crossAx val="752864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104054470210328"/>
          <c:y val="4.735020624075998E-2"/>
          <c:w val="0.72124179646198994"/>
          <c:h val="4.79623494117649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052534448818897E-2"/>
          <c:y val="7.5714931365961413E-2"/>
          <c:w val="0.91375996555118111"/>
          <c:h val="0.846541224991312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Innskud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_(* #,##0.0_);_(* \(#,##0.0\);_(* "-"??_);_(@_)</c:formatCode>
                <c:ptCount val="5"/>
                <c:pt idx="0">
                  <c:v>12.257932</c:v>
                </c:pt>
                <c:pt idx="1">
                  <c:v>13.201663</c:v>
                </c:pt>
                <c:pt idx="2">
                  <c:v>12.908484</c:v>
                </c:pt>
                <c:pt idx="3" formatCode="_ * #,##0.0_ ;_ * \-#,##0.0_ ;_ * &quot;-&quot;??_ ;_ @_ ">
                  <c:v>13.350242</c:v>
                </c:pt>
                <c:pt idx="4" formatCode="_ * #,##0.0_ ;_ * \-#,##0.0_ ;_ * &quot;-&quot;??_ ;_ @_ ">
                  <c:v>14.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Innskudd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C$2:$C$6</c:f>
              <c:numCache>
                <c:formatCode>_(* #,##0.0_);_(* \(#,##0.0\);_(* "-"??_);_(@_)</c:formatCode>
                <c:ptCount val="5"/>
                <c:pt idx="0">
                  <c:v>8.7546779999999984</c:v>
                </c:pt>
                <c:pt idx="1">
                  <c:v>8.731224000000001</c:v>
                </c:pt>
                <c:pt idx="2">
                  <c:v>8.8840799999999991</c:v>
                </c:pt>
                <c:pt idx="3">
                  <c:v>8.7883380000000013</c:v>
                </c:pt>
                <c:pt idx="4">
                  <c:v>9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752871008"/>
        <c:axId val="752864736"/>
      </c:barChart>
      <c:lineChart>
        <c:grouping val="standard"/>
        <c:varyColors val="0"/>
        <c:ser>
          <c:idx val="2"/>
          <c:order val="2"/>
          <c:tx>
            <c:strRef>
              <c:f>'Ark1'!$D$1</c:f>
              <c:strCache>
                <c:ptCount val="1"/>
                <c:pt idx="0">
                  <c:v>Innskuddsdekning (ekskl kredittforetak)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D$2:$D$6</c:f>
              <c:numCache>
                <c:formatCode>0.0\ %</c:formatCode>
                <c:ptCount val="5"/>
                <c:pt idx="0">
                  <c:v>0.74854664262780257</c:v>
                </c:pt>
                <c:pt idx="1">
                  <c:v>0.7533514402403374</c:v>
                </c:pt>
                <c:pt idx="2">
                  <c:v>0.73249457390923323</c:v>
                </c:pt>
                <c:pt idx="3">
                  <c:v>0.74964845699821581</c:v>
                </c:pt>
                <c:pt idx="4">
                  <c:v>0.80700000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2872184"/>
        <c:axId val="752871400"/>
      </c:lineChart>
      <c:catAx>
        <c:axId val="75287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4736"/>
        <c:crosses val="autoZero"/>
        <c:auto val="1"/>
        <c:lblAlgn val="ctr"/>
        <c:lblOffset val="100"/>
        <c:noMultiLvlLbl val="0"/>
      </c:catAx>
      <c:valAx>
        <c:axId val="752864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(* #,##0.0_);_(* \(#,##0.0\);_(* &quot;-&quot;??_);_(@_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71008"/>
        <c:crosses val="autoZero"/>
        <c:crossBetween val="between"/>
      </c:valAx>
      <c:valAx>
        <c:axId val="752871400"/>
        <c:scaling>
          <c:orientation val="minMax"/>
          <c:min val="0"/>
        </c:scaling>
        <c:delete val="0"/>
        <c:axPos val="r"/>
        <c:numFmt formatCode="0.0\ 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72184"/>
        <c:crosses val="max"/>
        <c:crossBetween val="between"/>
      </c:valAx>
      <c:catAx>
        <c:axId val="75287218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752871400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9473000333841382E-2"/>
          <c:y val="9.3749994232898981E-3"/>
          <c:w val="0.86034434316079422"/>
          <c:h val="4.79623494117649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/>
              <a:t>Volumfordeling</a:t>
            </a:r>
            <a:r>
              <a:rPr lang="en-US" dirty="0" smtClean="0"/>
              <a:t> </a:t>
            </a:r>
          </a:p>
          <a:p>
            <a:pPr>
              <a:defRPr/>
            </a:pPr>
            <a:r>
              <a:rPr lang="en-US" dirty="0" err="1" smtClean="0"/>
              <a:t>innskudd</a:t>
            </a:r>
            <a:endParaRPr lang="en-US" dirty="0"/>
          </a:p>
        </c:rich>
      </c:tx>
      <c:layout>
        <c:manualLayout>
          <c:xMode val="edge"/>
          <c:yMode val="edge"/>
          <c:x val="0.25782402466352278"/>
          <c:y val="4.036155050644211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2123156210235512"/>
          <c:y val="0.21577284900743957"/>
          <c:w val="0.62303953645789678"/>
          <c:h val="0.63301689242121317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explosion val="1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3</c:f>
              <c:strCache>
                <c:ptCount val="2"/>
                <c:pt idx="0">
                  <c:v>PM</c:v>
                </c:pt>
                <c:pt idx="1">
                  <c:v>BM</c:v>
                </c:pt>
              </c:strCache>
            </c:strRef>
          </c:cat>
          <c:val>
            <c:numRef>
              <c:f>'Ark1'!$B$2:$B$3</c:f>
              <c:numCache>
                <c:formatCode>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7416297847827"/>
          <c:y val="0.11311377943601711"/>
          <c:w val="0.58859009993814793"/>
          <c:h val="0.87829194546917166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4"/>
              <c:layout>
                <c:manualLayout>
                  <c:x val="8.803418198612098E-2"/>
                  <c:y val="-2.7366480258401477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38686546179031"/>
                      <c:h val="8.9039379329649976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Ark1'!$A$2:$A$6</c:f>
              <c:strCache>
                <c:ptCount val="5"/>
                <c:pt idx="0">
                  <c:v>Personmarked</c:v>
                </c:pt>
                <c:pt idx="1">
                  <c:v>Boligkreditt</c:v>
                </c:pt>
                <c:pt idx="2">
                  <c:v>Næringseiendom</c:v>
                </c:pt>
                <c:pt idx="3">
                  <c:v>Næringskreditt</c:v>
                </c:pt>
                <c:pt idx="4">
                  <c:v>Annet 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52</c:v>
                </c:pt>
                <c:pt idx="1">
                  <c:v>0.28000000000000003</c:v>
                </c:pt>
                <c:pt idx="2">
                  <c:v>0.12</c:v>
                </c:pt>
                <c:pt idx="3">
                  <c:v>0.01</c:v>
                </c:pt>
                <c:pt idx="4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smtClean="0"/>
              <a:t>BM</a:t>
            </a:r>
            <a:endParaRPr lang="nb-NO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2049962131543851"/>
          <c:y val="0.10215250944341904"/>
          <c:w val="0.85662868251498936"/>
          <c:h val="0.696355018276822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. kv. 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B$2:$B$7</c:f>
              <c:numCache>
                <c:formatCode>#,##0.0</c:formatCode>
                <c:ptCount val="6"/>
                <c:pt idx="0">
                  <c:v>0.13867699999999999</c:v>
                </c:pt>
                <c:pt idx="1">
                  <c:v>9.9750000000000005E-2</c:v>
                </c:pt>
                <c:pt idx="2">
                  <c:v>3.2760790000000002</c:v>
                </c:pt>
                <c:pt idx="3">
                  <c:v>3.9719850000000001</c:v>
                </c:pt>
                <c:pt idx="4">
                  <c:v>1.217063</c:v>
                </c:pt>
                <c:pt idx="5">
                  <c:v>0.2026040000000000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3. kv. 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C$2:$C$7</c:f>
              <c:numCache>
                <c:formatCode>#,##0.0</c:formatCode>
                <c:ptCount val="6"/>
                <c:pt idx="0">
                  <c:v>0.13331299999999999</c:v>
                </c:pt>
                <c:pt idx="1">
                  <c:v>9.8774000000000001E-2</c:v>
                </c:pt>
                <c:pt idx="2">
                  <c:v>3.4741719999999998</c:v>
                </c:pt>
                <c:pt idx="3">
                  <c:v>3.7926899999999999</c:v>
                </c:pt>
                <c:pt idx="4">
                  <c:v>1.3326420000000001</c:v>
                </c:pt>
                <c:pt idx="5">
                  <c:v>0.21771399999999999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4. kv. 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D$2:$D$7</c:f>
              <c:numCache>
                <c:formatCode>#,##0.0</c:formatCode>
                <c:ptCount val="6"/>
                <c:pt idx="0">
                  <c:v>0.140904</c:v>
                </c:pt>
                <c:pt idx="1">
                  <c:v>0.58373399999999998</c:v>
                </c:pt>
                <c:pt idx="2">
                  <c:v>3.2644839999999999</c:v>
                </c:pt>
                <c:pt idx="3">
                  <c:v>3.2629250000000001</c:v>
                </c:pt>
                <c:pt idx="4">
                  <c:v>1.3650929999999999</c:v>
                </c:pt>
                <c:pt idx="5">
                  <c:v>0.252938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1. kv. 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E$2:$E$7</c:f>
              <c:numCache>
                <c:formatCode>0.0</c:formatCode>
                <c:ptCount val="6"/>
                <c:pt idx="0">
                  <c:v>0.15934699999999999</c:v>
                </c:pt>
                <c:pt idx="1">
                  <c:v>0.55558399999999997</c:v>
                </c:pt>
                <c:pt idx="2">
                  <c:v>3.4606509999999999</c:v>
                </c:pt>
                <c:pt idx="3">
                  <c:v>3.045013</c:v>
                </c:pt>
                <c:pt idx="4">
                  <c:v>1.4758450000000001</c:v>
                </c:pt>
                <c:pt idx="5">
                  <c:v>0.232443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60424"/>
        <c:axId val="752861600"/>
      </c:barChart>
      <c:catAx>
        <c:axId val="752860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1600"/>
        <c:crosses val="autoZero"/>
        <c:auto val="1"/>
        <c:lblAlgn val="ctr"/>
        <c:lblOffset val="100"/>
        <c:noMultiLvlLbl val="0"/>
      </c:catAx>
      <c:valAx>
        <c:axId val="752861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3.8328657958523627E-3"/>
              <c:y val="0.4100884974929773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0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299357599093722"/>
          <c:y val="0.91631777494099653"/>
          <c:w val="0.57726037747840475"/>
          <c:h val="5.86669483850403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smtClean="0"/>
              <a:t>PM</a:t>
            </a:r>
            <a:endParaRPr lang="nb-NO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2049962131543851"/>
          <c:y val="0.10215250944341904"/>
          <c:w val="0.85662868251498936"/>
          <c:h val="0.696355018276822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. kv. 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B$2:$B$6</c:f>
              <c:numCache>
                <c:formatCode>#,##0.0</c:formatCode>
                <c:ptCount val="5"/>
                <c:pt idx="0">
                  <c:v>12.177652</c:v>
                </c:pt>
                <c:pt idx="1">
                  <c:v>16.054970999999998</c:v>
                </c:pt>
                <c:pt idx="2">
                  <c:v>5.7843309999999999</c:v>
                </c:pt>
                <c:pt idx="3">
                  <c:v>0.71981399999999995</c:v>
                </c:pt>
                <c:pt idx="4">
                  <c:v>6.6823999999999995E-2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3. kv. 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C$2:$C$6</c:f>
              <c:numCache>
                <c:formatCode>#,##0.0</c:formatCode>
                <c:ptCount val="5"/>
                <c:pt idx="0">
                  <c:v>12.367234</c:v>
                </c:pt>
                <c:pt idx="1">
                  <c:v>16.595772</c:v>
                </c:pt>
                <c:pt idx="2">
                  <c:v>5.7497559999999996</c:v>
                </c:pt>
                <c:pt idx="3">
                  <c:v>0.77876699999999999</c:v>
                </c:pt>
                <c:pt idx="4">
                  <c:v>4.9815999999999999E-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4. kv. 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D$2:$D$6</c:f>
              <c:numCache>
                <c:formatCode>#,##0.0</c:formatCode>
                <c:ptCount val="5"/>
                <c:pt idx="0">
                  <c:v>12.324206999999999</c:v>
                </c:pt>
                <c:pt idx="1">
                  <c:v>16.755474</c:v>
                </c:pt>
                <c:pt idx="2">
                  <c:v>6.0853760000000001</c:v>
                </c:pt>
                <c:pt idx="3">
                  <c:v>0.76829700000000001</c:v>
                </c:pt>
                <c:pt idx="4">
                  <c:v>5.8223999999999998E-2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1. kv. 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E$2:$E$6</c:f>
              <c:numCache>
                <c:formatCode>0.0</c:formatCode>
                <c:ptCount val="5"/>
                <c:pt idx="0">
                  <c:v>12.632203000000001</c:v>
                </c:pt>
                <c:pt idx="1">
                  <c:v>16.732783999999999</c:v>
                </c:pt>
                <c:pt idx="2">
                  <c:v>6.1507230000000002</c:v>
                </c:pt>
                <c:pt idx="3">
                  <c:v>0.77594300000000005</c:v>
                </c:pt>
                <c:pt idx="4">
                  <c:v>6.1652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80808"/>
        <c:axId val="752876496"/>
      </c:barChart>
      <c:catAx>
        <c:axId val="752880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76496"/>
        <c:crosses val="autoZero"/>
        <c:auto val="1"/>
        <c:lblAlgn val="ctr"/>
        <c:lblOffset val="100"/>
        <c:noMultiLvlLbl val="0"/>
      </c:catAx>
      <c:valAx>
        <c:axId val="75287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3.8328657958523627E-3"/>
              <c:y val="0.3900205780824911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8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299357599093722"/>
          <c:y val="0.91631777494099653"/>
          <c:w val="0.57726037747840475"/>
          <c:h val="5.86669483850403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96665846456689"/>
          <c:y val="7.9687495097964134E-2"/>
          <c:w val="0.59094180610236224"/>
          <c:h val="0.8864126546252058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2"/>
              <c:layout>
                <c:manualLayout>
                  <c:x val="0.05"/>
                  <c:y val="9.374999423289880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5624999999999929E-3"/>
                  <c:y val="9.375091696906269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160900590551181"/>
                      <c:h val="7.6253071096636857E-2"/>
                    </c:manualLayout>
                  </c15:layout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baseline="0" smtClean="0"/>
                      <a:t>Egenkapital</a:t>
                    </a:r>
                    <a:r>
                      <a:rPr lang="en-US" baseline="0" dirty="0"/>
                      <a:t>
</a:t>
                    </a:r>
                    <a:fld id="{C8118078-6E92-4863-917F-9866CEE774CD}" type="PERCENTAGE">
                      <a:rPr lang="en-US" baseline="0"/>
                      <a:pPr/>
                      <a:t>[PROSENT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2.9687499999999995E-2"/>
                  <c:y val="-1.640624899075733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169906496063"/>
                      <c:h val="0.11082965607593159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Ark1'!$A$2:$A$7</c:f>
              <c:strCache>
                <c:ptCount val="6"/>
                <c:pt idx="0">
                  <c:v>Senior obl.gjeld</c:v>
                </c:pt>
                <c:pt idx="1">
                  <c:v>Innskudd</c:v>
                </c:pt>
                <c:pt idx="2">
                  <c:v>Ans.lån og fondsobl</c:v>
                </c:pt>
                <c:pt idx="3">
                  <c:v>Øvrige</c:v>
                </c:pt>
                <c:pt idx="4">
                  <c:v>EK</c:v>
                </c:pt>
                <c:pt idx="5">
                  <c:v>Boligkreditt/Næringskreditt</c:v>
                </c:pt>
              </c:strCache>
            </c:strRef>
          </c:cat>
          <c:val>
            <c:numRef>
              <c:f>'Ark1'!$B$2:$B$7</c:f>
              <c:numCache>
                <c:formatCode>0%</c:formatCode>
                <c:ptCount val="6"/>
                <c:pt idx="0">
                  <c:v>0.16769305648914595</c:v>
                </c:pt>
                <c:pt idx="1">
                  <c:v>0.4680659935967022</c:v>
                </c:pt>
                <c:pt idx="2">
                  <c:v>1.3676987567894013E-2</c:v>
                </c:pt>
                <c:pt idx="3">
                  <c:v>1.1430089589916528E-2</c:v>
                </c:pt>
                <c:pt idx="4">
                  <c:v>9.0625668590310612E-2</c:v>
                </c:pt>
                <c:pt idx="5">
                  <c:v>0.248508184414470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96665846456689"/>
          <c:y val="0.1101562432236563"/>
          <c:w val="0.57062930610236218"/>
          <c:h val="0.85594390649951357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1"/>
              <c:layout>
                <c:manualLayout>
                  <c:x val="-3.7499999999999999E-2"/>
                  <c:y val="-1.640634126437386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42138287401576"/>
                      <c:h val="7.6253071096636857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2.8125000000000015E-2"/>
                  <c:y val="9.374999423289898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3593749999999964E-2"/>
                  <c:y val="-2.5781248414047227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smtClean="0"/>
                      <a:t>Kraft </a:t>
                    </a:r>
                    <a:r>
                      <a:rPr lang="en-US" baseline="0" dirty="0" err="1" smtClean="0"/>
                      <a:t>m.m.</a:t>
                    </a:r>
                    <a:r>
                      <a:rPr lang="en-US" baseline="0" dirty="0"/>
                      <a:t>
</a:t>
                    </a:r>
                    <a:fld id="{9D32CED4-9C8D-4B44-AF73-B715D692EEC6}" type="PERCENTAGE">
                      <a:rPr lang="en-US" baseline="0"/>
                      <a:pPr/>
                      <a:t>[PROSENT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242925688976376"/>
                      <c:h val="7.6253071096636857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8.5156250000000003E-2"/>
                  <c:y val="9.2273616370963565E-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690083661417326"/>
                      <c:h val="7.6253071096636857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Ark1'!$A$2:$A$6</c:f>
              <c:strCache>
                <c:ptCount val="5"/>
                <c:pt idx="0">
                  <c:v>Stat/statsgarantert</c:v>
                </c:pt>
                <c:pt idx="1">
                  <c:v>OMF</c:v>
                </c:pt>
                <c:pt idx="2">
                  <c:v>Fylke/kommune</c:v>
                </c:pt>
                <c:pt idx="3">
                  <c:v>Kraft/Bom</c:v>
                </c:pt>
                <c:pt idx="4">
                  <c:v>Øvrig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23918000058741046</c:v>
                </c:pt>
                <c:pt idx="1">
                  <c:v>0.56661207569050775</c:v>
                </c:pt>
                <c:pt idx="2">
                  <c:v>0.10507654025029917</c:v>
                </c:pt>
                <c:pt idx="3">
                  <c:v>2.1189511741756564E-2</c:v>
                </c:pt>
                <c:pt idx="4">
                  <c:v>6.7941871730026054E-2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30391242923706E-2"/>
          <c:y val="9.754637440822557E-2"/>
          <c:w val="0.8968025164580905"/>
          <c:h val="0.789245552393342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msetning 31.03.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</c:v>
                </c:pt>
              </c:strCache>
            </c:strRef>
          </c:cat>
          <c:val>
            <c:numRef>
              <c:f>'Ark1'!$B$2:$B$4</c:f>
              <c:numCache>
                <c:formatCode>_ * #,##0.0_ ;_ * \-#,##0.0_ ;_ * "-"??_ ;_ @_ </c:formatCode>
                <c:ptCount val="3"/>
                <c:pt idx="0">
                  <c:v>10</c:v>
                </c:pt>
                <c:pt idx="1">
                  <c:v>15</c:v>
                </c:pt>
                <c:pt idx="2">
                  <c:v>6.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Omsetning 31.03.19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</c:v>
                </c:pt>
              </c:strCache>
            </c:strRef>
          </c:cat>
          <c:val>
            <c:numRef>
              <c:f>'Ark1'!$C$2:$C$4</c:f>
              <c:numCache>
                <c:formatCode>_ * #,##0.0_ ;_ * \-#,##0.0_ ;_ * "-"??_ ;_ @_ </c:formatCode>
                <c:ptCount val="3"/>
                <c:pt idx="0">
                  <c:v>10.9</c:v>
                </c:pt>
                <c:pt idx="1">
                  <c:v>16.100000000000001</c:v>
                </c:pt>
                <c:pt idx="2">
                  <c:v>7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77280"/>
        <c:axId val="752883160"/>
      </c:barChart>
      <c:catAx>
        <c:axId val="752877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83160"/>
        <c:crosses val="autoZero"/>
        <c:auto val="1"/>
        <c:lblAlgn val="ctr"/>
        <c:lblOffset val="100"/>
        <c:noMultiLvlLbl val="0"/>
      </c:catAx>
      <c:valAx>
        <c:axId val="752883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_ ;_ * \-#,##0.0_ ;_ * &quot;-&quot;??_ ;_ @_ " sourceLinked="1"/>
        <c:majorTickMark val="none"/>
        <c:minorTickMark val="none"/>
        <c:tickLblPos val="nextTo"/>
        <c:crossAx val="752877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249318275762618"/>
          <c:y val="2.0288149463437672E-2"/>
          <c:w val="0.65184498508831257"/>
          <c:h val="5.9432033412840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58538385826774E-2"/>
          <c:y val="4.6957120635019653E-2"/>
          <c:w val="0.93635396161417328"/>
          <c:h val="0.731327464854363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etto renteinntek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#,##0</c:formatCode>
                <c:ptCount val="5"/>
                <c:pt idx="0">
                  <c:v>140.37200000000001</c:v>
                </c:pt>
                <c:pt idx="1">
                  <c:v>146.28100000000001</c:v>
                </c:pt>
                <c:pt idx="2">
                  <c:v>150.51</c:v>
                </c:pt>
                <c:pt idx="3">
                  <c:v>155.90299999999999</c:v>
                </c:pt>
                <c:pt idx="4">
                  <c:v>145.28299999999999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Provisjonsinntekter SB1 Boligkreditt/Næringskredit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C$2:$C$6</c:f>
              <c:numCache>
                <c:formatCode>#,##0</c:formatCode>
                <c:ptCount val="5"/>
                <c:pt idx="0">
                  <c:v>27.2349</c:v>
                </c:pt>
                <c:pt idx="1">
                  <c:v>22.079000000000001</c:v>
                </c:pt>
                <c:pt idx="2">
                  <c:v>21.295000000000002</c:v>
                </c:pt>
                <c:pt idx="3">
                  <c:v>24.001189</c:v>
                </c:pt>
                <c:pt idx="4">
                  <c:v>23.105999999999998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Netto provisjons- og andre inntekt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D$2:$D$6</c:f>
              <c:numCache>
                <c:formatCode>#,##0</c:formatCode>
                <c:ptCount val="5"/>
                <c:pt idx="0">
                  <c:v>72.833100000000002</c:v>
                </c:pt>
                <c:pt idx="1">
                  <c:v>87.57</c:v>
                </c:pt>
                <c:pt idx="2">
                  <c:v>81.620999999999995</c:v>
                </c:pt>
                <c:pt idx="3">
                  <c:v>79.346811000000002</c:v>
                </c:pt>
                <c:pt idx="4">
                  <c:v>76.159000000000006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Netto resultat fra finansielle eiendel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E$2:$E$6</c:f>
              <c:numCache>
                <c:formatCode>#,##0</c:formatCode>
                <c:ptCount val="5"/>
                <c:pt idx="0">
                  <c:v>29.062999999999999</c:v>
                </c:pt>
                <c:pt idx="1">
                  <c:v>51.6</c:v>
                </c:pt>
                <c:pt idx="2">
                  <c:v>28.931999999999999</c:v>
                </c:pt>
                <c:pt idx="3">
                  <c:v>-10.388</c:v>
                </c:pt>
                <c:pt idx="4">
                  <c:v>38.98899999999999</c:v>
                </c:pt>
              </c:numCache>
            </c:numRef>
          </c:val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Gevinst ved salg av bankbyg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F$2:$F$6</c:f>
              <c:numCache>
                <c:formatCode>#,##0</c:formatCode>
                <c:ptCount val="5"/>
                <c:pt idx="0">
                  <c:v>72.599999999999994</c:v>
                </c:pt>
                <c:pt idx="1">
                  <c:v>18.126000000000001</c:v>
                </c:pt>
              </c:numCache>
            </c:numRef>
          </c:val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Fusjon forsikring (Fremtind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G$2:$G$6</c:f>
              <c:numCache>
                <c:formatCode>General</c:formatCode>
                <c:ptCount val="5"/>
                <c:pt idx="4" formatCode="#,##0">
                  <c:v>71.9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52865520"/>
        <c:axId val="752860816"/>
      </c:barChart>
      <c:catAx>
        <c:axId val="75286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0816"/>
        <c:crosses val="autoZero"/>
        <c:auto val="1"/>
        <c:lblAlgn val="ctr"/>
        <c:lblOffset val="100"/>
        <c:noMultiLvlLbl val="0"/>
      </c:catAx>
      <c:valAx>
        <c:axId val="752860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" sourceLinked="1"/>
        <c:majorTickMark val="none"/>
        <c:minorTickMark val="none"/>
        <c:tickLblPos val="nextTo"/>
        <c:crossAx val="75286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30391242923706E-2"/>
          <c:y val="9.754637440822557E-2"/>
          <c:w val="0.8968025164580905"/>
          <c:h val="0.789245552393342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Driftsmargin 31.03.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</c:v>
                </c:pt>
              </c:strCache>
            </c:strRef>
          </c:cat>
          <c:val>
            <c:numRef>
              <c:f>'Ark1'!$B$2:$B$4</c:f>
              <c:numCache>
                <c:formatCode>0.0\ %</c:formatCode>
                <c:ptCount val="3"/>
                <c:pt idx="0">
                  <c:v>0.13600000000000001</c:v>
                </c:pt>
                <c:pt idx="1">
                  <c:v>-7.9000000000000001E-2</c:v>
                </c:pt>
                <c:pt idx="2">
                  <c:v>0.1170000000000000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Driftsmargin 31.03.19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</c:v>
                </c:pt>
              </c:strCache>
            </c:strRef>
          </c:cat>
          <c:val>
            <c:numRef>
              <c:f>'Ark1'!$C$2:$C$4</c:f>
              <c:numCache>
                <c:formatCode>0.0\ %</c:formatCode>
                <c:ptCount val="3"/>
                <c:pt idx="0">
                  <c:v>0.192</c:v>
                </c:pt>
                <c:pt idx="1">
                  <c:v>-1.2999999999999999E-2</c:v>
                </c:pt>
                <c:pt idx="2">
                  <c:v>0.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73360"/>
        <c:axId val="752883552"/>
      </c:barChart>
      <c:catAx>
        <c:axId val="752873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83552"/>
        <c:crosses val="autoZero"/>
        <c:auto val="0"/>
        <c:lblAlgn val="ctr"/>
        <c:lblOffset val="100"/>
        <c:noMultiLvlLbl val="0"/>
      </c:catAx>
      <c:valAx>
        <c:axId val="752883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crossAx val="752873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249318275762618"/>
          <c:y val="2.0288149463437672E-2"/>
          <c:w val="0.65184498508831257"/>
          <c:h val="5.9432033412840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3794500013785"/>
          <c:y val="7.1974078666546981E-2"/>
          <c:w val="0.85161432039574592"/>
          <c:h val="0.80618602045302012"/>
        </c:manualLayout>
      </c:layout>
      <c:area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BV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Ark1'!$A$2:$A$760</c:f>
              <c:numCache>
                <c:formatCode>dd\.mm\.yy</c:formatCode>
                <c:ptCount val="759"/>
                <c:pt idx="0">
                  <c:v>43556</c:v>
                </c:pt>
                <c:pt idx="1">
                  <c:v>43555</c:v>
                </c:pt>
                <c:pt idx="2">
                  <c:v>43554</c:v>
                </c:pt>
                <c:pt idx="3">
                  <c:v>43553</c:v>
                </c:pt>
                <c:pt idx="4">
                  <c:v>43552</c:v>
                </c:pt>
                <c:pt idx="5">
                  <c:v>43551</c:v>
                </c:pt>
                <c:pt idx="6">
                  <c:v>43550</c:v>
                </c:pt>
                <c:pt idx="7">
                  <c:v>43549</c:v>
                </c:pt>
                <c:pt idx="8">
                  <c:v>43546</c:v>
                </c:pt>
                <c:pt idx="9">
                  <c:v>43545</c:v>
                </c:pt>
                <c:pt idx="10">
                  <c:v>43544</c:v>
                </c:pt>
                <c:pt idx="11">
                  <c:v>43543</c:v>
                </c:pt>
                <c:pt idx="12">
                  <c:v>43542</c:v>
                </c:pt>
                <c:pt idx="13">
                  <c:v>43539</c:v>
                </c:pt>
                <c:pt idx="14">
                  <c:v>43538</c:v>
                </c:pt>
                <c:pt idx="15">
                  <c:v>43537</c:v>
                </c:pt>
                <c:pt idx="16">
                  <c:v>43536</c:v>
                </c:pt>
                <c:pt idx="17">
                  <c:v>43535</c:v>
                </c:pt>
                <c:pt idx="18">
                  <c:v>43532</c:v>
                </c:pt>
                <c:pt idx="19">
                  <c:v>43531</c:v>
                </c:pt>
                <c:pt idx="20">
                  <c:v>43530</c:v>
                </c:pt>
                <c:pt idx="21">
                  <c:v>43529</c:v>
                </c:pt>
                <c:pt idx="22">
                  <c:v>43528</c:v>
                </c:pt>
                <c:pt idx="23">
                  <c:v>43525</c:v>
                </c:pt>
                <c:pt idx="24">
                  <c:v>43524</c:v>
                </c:pt>
                <c:pt idx="25">
                  <c:v>43523</c:v>
                </c:pt>
                <c:pt idx="26">
                  <c:v>43522</c:v>
                </c:pt>
                <c:pt idx="27">
                  <c:v>43521</c:v>
                </c:pt>
                <c:pt idx="28">
                  <c:v>43518</c:v>
                </c:pt>
                <c:pt idx="29">
                  <c:v>43517</c:v>
                </c:pt>
                <c:pt idx="30">
                  <c:v>43516</c:v>
                </c:pt>
                <c:pt idx="31">
                  <c:v>43515</c:v>
                </c:pt>
                <c:pt idx="32">
                  <c:v>43514</c:v>
                </c:pt>
                <c:pt idx="33">
                  <c:v>43511</c:v>
                </c:pt>
                <c:pt idx="34">
                  <c:v>43510</c:v>
                </c:pt>
                <c:pt idx="35">
                  <c:v>43509</c:v>
                </c:pt>
                <c:pt idx="36">
                  <c:v>43508</c:v>
                </c:pt>
                <c:pt idx="37">
                  <c:v>43507</c:v>
                </c:pt>
                <c:pt idx="38">
                  <c:v>43504</c:v>
                </c:pt>
                <c:pt idx="39">
                  <c:v>43503</c:v>
                </c:pt>
                <c:pt idx="40">
                  <c:v>43502</c:v>
                </c:pt>
                <c:pt idx="41">
                  <c:v>43501</c:v>
                </c:pt>
                <c:pt idx="42">
                  <c:v>43500</c:v>
                </c:pt>
                <c:pt idx="43">
                  <c:v>43497</c:v>
                </c:pt>
                <c:pt idx="44">
                  <c:v>43496</c:v>
                </c:pt>
                <c:pt idx="45">
                  <c:v>43495</c:v>
                </c:pt>
                <c:pt idx="46">
                  <c:v>43494</c:v>
                </c:pt>
                <c:pt idx="47">
                  <c:v>43493</c:v>
                </c:pt>
                <c:pt idx="48">
                  <c:v>43490</c:v>
                </c:pt>
                <c:pt idx="49">
                  <c:v>43489</c:v>
                </c:pt>
                <c:pt idx="50">
                  <c:v>43488</c:v>
                </c:pt>
                <c:pt idx="51">
                  <c:v>43487</c:v>
                </c:pt>
                <c:pt idx="52">
                  <c:v>43486</c:v>
                </c:pt>
                <c:pt idx="53">
                  <c:v>43483</c:v>
                </c:pt>
                <c:pt idx="54">
                  <c:v>43482</c:v>
                </c:pt>
                <c:pt idx="55">
                  <c:v>43481</c:v>
                </c:pt>
                <c:pt idx="56">
                  <c:v>43480</c:v>
                </c:pt>
                <c:pt idx="57">
                  <c:v>43479</c:v>
                </c:pt>
                <c:pt idx="58">
                  <c:v>43476</c:v>
                </c:pt>
                <c:pt idx="59">
                  <c:v>43475</c:v>
                </c:pt>
                <c:pt idx="60">
                  <c:v>43474</c:v>
                </c:pt>
                <c:pt idx="61">
                  <c:v>43473</c:v>
                </c:pt>
                <c:pt idx="62">
                  <c:v>43472</c:v>
                </c:pt>
                <c:pt idx="63">
                  <c:v>43469</c:v>
                </c:pt>
                <c:pt idx="64">
                  <c:v>43468</c:v>
                </c:pt>
                <c:pt idx="65">
                  <c:v>43467</c:v>
                </c:pt>
                <c:pt idx="66">
                  <c:v>43462</c:v>
                </c:pt>
                <c:pt idx="67">
                  <c:v>43461</c:v>
                </c:pt>
                <c:pt idx="68">
                  <c:v>43455</c:v>
                </c:pt>
                <c:pt idx="69">
                  <c:v>43454</c:v>
                </c:pt>
                <c:pt idx="70">
                  <c:v>43453</c:v>
                </c:pt>
                <c:pt idx="71">
                  <c:v>43452</c:v>
                </c:pt>
                <c:pt idx="72">
                  <c:v>43451</c:v>
                </c:pt>
                <c:pt idx="73">
                  <c:v>43448</c:v>
                </c:pt>
                <c:pt idx="74">
                  <c:v>43447</c:v>
                </c:pt>
                <c:pt idx="75">
                  <c:v>43446</c:v>
                </c:pt>
                <c:pt idx="76">
                  <c:v>43445</c:v>
                </c:pt>
                <c:pt idx="77">
                  <c:v>43444</c:v>
                </c:pt>
                <c:pt idx="78">
                  <c:v>43441</c:v>
                </c:pt>
                <c:pt idx="79">
                  <c:v>43440</c:v>
                </c:pt>
                <c:pt idx="80">
                  <c:v>43439</c:v>
                </c:pt>
                <c:pt idx="81">
                  <c:v>43438</c:v>
                </c:pt>
                <c:pt idx="82">
                  <c:v>43437</c:v>
                </c:pt>
                <c:pt idx="83">
                  <c:v>43434</c:v>
                </c:pt>
                <c:pt idx="84">
                  <c:v>43433</c:v>
                </c:pt>
                <c:pt idx="85">
                  <c:v>43432</c:v>
                </c:pt>
                <c:pt idx="86">
                  <c:v>43431</c:v>
                </c:pt>
                <c:pt idx="87">
                  <c:v>43430</c:v>
                </c:pt>
                <c:pt idx="88">
                  <c:v>43427</c:v>
                </c:pt>
                <c:pt idx="89">
                  <c:v>43426</c:v>
                </c:pt>
                <c:pt idx="90">
                  <c:v>43425</c:v>
                </c:pt>
                <c:pt idx="91">
                  <c:v>43424</c:v>
                </c:pt>
                <c:pt idx="92">
                  <c:v>43423</c:v>
                </c:pt>
                <c:pt idx="93">
                  <c:v>43420</c:v>
                </c:pt>
                <c:pt idx="94">
                  <c:v>43419</c:v>
                </c:pt>
                <c:pt idx="95">
                  <c:v>43418</c:v>
                </c:pt>
                <c:pt idx="96">
                  <c:v>43417</c:v>
                </c:pt>
                <c:pt idx="97">
                  <c:v>43416</c:v>
                </c:pt>
                <c:pt idx="98">
                  <c:v>43413</c:v>
                </c:pt>
                <c:pt idx="99">
                  <c:v>43412</c:v>
                </c:pt>
                <c:pt idx="100">
                  <c:v>43411</c:v>
                </c:pt>
                <c:pt idx="101">
                  <c:v>43410</c:v>
                </c:pt>
                <c:pt idx="102">
                  <c:v>43409</c:v>
                </c:pt>
                <c:pt idx="103">
                  <c:v>43406</c:v>
                </c:pt>
                <c:pt idx="104">
                  <c:v>43405</c:v>
                </c:pt>
                <c:pt idx="105">
                  <c:v>43404</c:v>
                </c:pt>
                <c:pt idx="106">
                  <c:v>43403</c:v>
                </c:pt>
                <c:pt idx="107">
                  <c:v>43402</c:v>
                </c:pt>
                <c:pt idx="108">
                  <c:v>43399</c:v>
                </c:pt>
                <c:pt idx="109">
                  <c:v>43398</c:v>
                </c:pt>
                <c:pt idx="110">
                  <c:v>43397</c:v>
                </c:pt>
                <c:pt idx="111">
                  <c:v>43396</c:v>
                </c:pt>
                <c:pt idx="112">
                  <c:v>43395</c:v>
                </c:pt>
                <c:pt idx="113">
                  <c:v>43392</c:v>
                </c:pt>
                <c:pt idx="114">
                  <c:v>43391</c:v>
                </c:pt>
                <c:pt idx="115">
                  <c:v>43390</c:v>
                </c:pt>
                <c:pt idx="116">
                  <c:v>43389</c:v>
                </c:pt>
                <c:pt idx="117">
                  <c:v>43388</c:v>
                </c:pt>
                <c:pt idx="118">
                  <c:v>43385</c:v>
                </c:pt>
                <c:pt idx="119">
                  <c:v>43384</c:v>
                </c:pt>
                <c:pt idx="120">
                  <c:v>43383</c:v>
                </c:pt>
                <c:pt idx="121">
                  <c:v>43382</c:v>
                </c:pt>
                <c:pt idx="122">
                  <c:v>43381</c:v>
                </c:pt>
                <c:pt idx="123">
                  <c:v>43378</c:v>
                </c:pt>
                <c:pt idx="124">
                  <c:v>43377</c:v>
                </c:pt>
                <c:pt idx="125">
                  <c:v>43376</c:v>
                </c:pt>
                <c:pt idx="126">
                  <c:v>43375</c:v>
                </c:pt>
                <c:pt idx="127">
                  <c:v>43374</c:v>
                </c:pt>
                <c:pt idx="128">
                  <c:v>43371</c:v>
                </c:pt>
                <c:pt idx="129">
                  <c:v>43370</c:v>
                </c:pt>
                <c:pt idx="130">
                  <c:v>43369</c:v>
                </c:pt>
                <c:pt idx="131">
                  <c:v>43368</c:v>
                </c:pt>
                <c:pt idx="132">
                  <c:v>43367</c:v>
                </c:pt>
                <c:pt idx="133">
                  <c:v>43364</c:v>
                </c:pt>
                <c:pt idx="134">
                  <c:v>43363</c:v>
                </c:pt>
                <c:pt idx="135">
                  <c:v>43362</c:v>
                </c:pt>
                <c:pt idx="136">
                  <c:v>43361</c:v>
                </c:pt>
                <c:pt idx="137">
                  <c:v>43360</c:v>
                </c:pt>
                <c:pt idx="138">
                  <c:v>43357</c:v>
                </c:pt>
                <c:pt idx="139">
                  <c:v>43356</c:v>
                </c:pt>
                <c:pt idx="140">
                  <c:v>43355</c:v>
                </c:pt>
                <c:pt idx="141">
                  <c:v>43354</c:v>
                </c:pt>
                <c:pt idx="142">
                  <c:v>43353</c:v>
                </c:pt>
                <c:pt idx="143">
                  <c:v>43350</c:v>
                </c:pt>
                <c:pt idx="144">
                  <c:v>43349</c:v>
                </c:pt>
                <c:pt idx="145">
                  <c:v>43348</c:v>
                </c:pt>
                <c:pt idx="146">
                  <c:v>43347</c:v>
                </c:pt>
                <c:pt idx="147">
                  <c:v>43346</c:v>
                </c:pt>
                <c:pt idx="148">
                  <c:v>43343</c:v>
                </c:pt>
                <c:pt idx="149">
                  <c:v>43342</c:v>
                </c:pt>
                <c:pt idx="150">
                  <c:v>43341</c:v>
                </c:pt>
                <c:pt idx="151">
                  <c:v>43340</c:v>
                </c:pt>
                <c:pt idx="152">
                  <c:v>43339</c:v>
                </c:pt>
                <c:pt idx="153">
                  <c:v>43336</c:v>
                </c:pt>
                <c:pt idx="154">
                  <c:v>43335</c:v>
                </c:pt>
                <c:pt idx="155">
                  <c:v>43334</c:v>
                </c:pt>
                <c:pt idx="156">
                  <c:v>43333</c:v>
                </c:pt>
                <c:pt idx="157">
                  <c:v>43332</c:v>
                </c:pt>
                <c:pt idx="158">
                  <c:v>43329</c:v>
                </c:pt>
                <c:pt idx="159">
                  <c:v>43328</c:v>
                </c:pt>
                <c:pt idx="160">
                  <c:v>43327</c:v>
                </c:pt>
                <c:pt idx="161">
                  <c:v>43326</c:v>
                </c:pt>
                <c:pt idx="162">
                  <c:v>43325</c:v>
                </c:pt>
                <c:pt idx="163">
                  <c:v>43322</c:v>
                </c:pt>
                <c:pt idx="164">
                  <c:v>43321</c:v>
                </c:pt>
                <c:pt idx="165">
                  <c:v>43320</c:v>
                </c:pt>
                <c:pt idx="166">
                  <c:v>43319</c:v>
                </c:pt>
                <c:pt idx="167">
                  <c:v>43318</c:v>
                </c:pt>
                <c:pt idx="168">
                  <c:v>43315</c:v>
                </c:pt>
                <c:pt idx="169">
                  <c:v>43314</c:v>
                </c:pt>
                <c:pt idx="170">
                  <c:v>43313</c:v>
                </c:pt>
                <c:pt idx="171">
                  <c:v>43312</c:v>
                </c:pt>
                <c:pt idx="172">
                  <c:v>43311</c:v>
                </c:pt>
                <c:pt idx="173">
                  <c:v>43308</c:v>
                </c:pt>
                <c:pt idx="174">
                  <c:v>43307</c:v>
                </c:pt>
                <c:pt idx="175">
                  <c:v>43306</c:v>
                </c:pt>
                <c:pt idx="176">
                  <c:v>43305</c:v>
                </c:pt>
                <c:pt idx="177">
                  <c:v>43304</c:v>
                </c:pt>
                <c:pt idx="178">
                  <c:v>43301</c:v>
                </c:pt>
                <c:pt idx="179">
                  <c:v>43300</c:v>
                </c:pt>
                <c:pt idx="180">
                  <c:v>43299</c:v>
                </c:pt>
                <c:pt idx="181">
                  <c:v>43298</c:v>
                </c:pt>
                <c:pt idx="182">
                  <c:v>43297</c:v>
                </c:pt>
                <c:pt idx="183">
                  <c:v>43294</c:v>
                </c:pt>
                <c:pt idx="184">
                  <c:v>43293</c:v>
                </c:pt>
                <c:pt idx="185">
                  <c:v>43292</c:v>
                </c:pt>
                <c:pt idx="186">
                  <c:v>43291</c:v>
                </c:pt>
                <c:pt idx="187">
                  <c:v>43290</c:v>
                </c:pt>
                <c:pt idx="188">
                  <c:v>43287</c:v>
                </c:pt>
                <c:pt idx="189">
                  <c:v>43286</c:v>
                </c:pt>
                <c:pt idx="190">
                  <c:v>43285</c:v>
                </c:pt>
                <c:pt idx="191">
                  <c:v>43284</c:v>
                </c:pt>
                <c:pt idx="192">
                  <c:v>43283</c:v>
                </c:pt>
                <c:pt idx="193">
                  <c:v>43280</c:v>
                </c:pt>
                <c:pt idx="194">
                  <c:v>43279</c:v>
                </c:pt>
                <c:pt idx="195">
                  <c:v>43278</c:v>
                </c:pt>
                <c:pt idx="196">
                  <c:v>43277</c:v>
                </c:pt>
                <c:pt idx="197">
                  <c:v>43276</c:v>
                </c:pt>
                <c:pt idx="198">
                  <c:v>43273</c:v>
                </c:pt>
                <c:pt idx="199">
                  <c:v>43272</c:v>
                </c:pt>
                <c:pt idx="200">
                  <c:v>43271</c:v>
                </c:pt>
                <c:pt idx="201">
                  <c:v>43270</c:v>
                </c:pt>
                <c:pt idx="202">
                  <c:v>43269</c:v>
                </c:pt>
                <c:pt idx="203">
                  <c:v>43266</c:v>
                </c:pt>
                <c:pt idx="204">
                  <c:v>43265</c:v>
                </c:pt>
                <c:pt idx="205">
                  <c:v>43264</c:v>
                </c:pt>
                <c:pt idx="206">
                  <c:v>43263</c:v>
                </c:pt>
                <c:pt idx="207">
                  <c:v>43262</c:v>
                </c:pt>
                <c:pt idx="208">
                  <c:v>43259</c:v>
                </c:pt>
                <c:pt idx="209">
                  <c:v>43258</c:v>
                </c:pt>
                <c:pt idx="210">
                  <c:v>43257</c:v>
                </c:pt>
                <c:pt idx="211">
                  <c:v>43256</c:v>
                </c:pt>
                <c:pt idx="212">
                  <c:v>43255</c:v>
                </c:pt>
                <c:pt idx="213">
                  <c:v>43252</c:v>
                </c:pt>
                <c:pt idx="214">
                  <c:v>43251</c:v>
                </c:pt>
                <c:pt idx="215">
                  <c:v>43250</c:v>
                </c:pt>
                <c:pt idx="216">
                  <c:v>43249</c:v>
                </c:pt>
                <c:pt idx="217">
                  <c:v>43248</c:v>
                </c:pt>
                <c:pt idx="218">
                  <c:v>43245</c:v>
                </c:pt>
                <c:pt idx="219">
                  <c:v>43244</c:v>
                </c:pt>
                <c:pt idx="220">
                  <c:v>43243</c:v>
                </c:pt>
                <c:pt idx="221">
                  <c:v>43242</c:v>
                </c:pt>
                <c:pt idx="222">
                  <c:v>43238</c:v>
                </c:pt>
                <c:pt idx="223">
                  <c:v>43236</c:v>
                </c:pt>
                <c:pt idx="224">
                  <c:v>43235</c:v>
                </c:pt>
                <c:pt idx="225">
                  <c:v>43234</c:v>
                </c:pt>
                <c:pt idx="226">
                  <c:v>43231</c:v>
                </c:pt>
                <c:pt idx="227">
                  <c:v>43229</c:v>
                </c:pt>
                <c:pt idx="228">
                  <c:v>43228</c:v>
                </c:pt>
                <c:pt idx="229">
                  <c:v>43227</c:v>
                </c:pt>
                <c:pt idx="230">
                  <c:v>43224</c:v>
                </c:pt>
                <c:pt idx="231">
                  <c:v>43223</c:v>
                </c:pt>
                <c:pt idx="232">
                  <c:v>43222</c:v>
                </c:pt>
                <c:pt idx="233">
                  <c:v>43220</c:v>
                </c:pt>
                <c:pt idx="234">
                  <c:v>43217</c:v>
                </c:pt>
                <c:pt idx="235">
                  <c:v>43216</c:v>
                </c:pt>
                <c:pt idx="236">
                  <c:v>43215</c:v>
                </c:pt>
                <c:pt idx="237">
                  <c:v>43214</c:v>
                </c:pt>
                <c:pt idx="238">
                  <c:v>43213</c:v>
                </c:pt>
                <c:pt idx="239">
                  <c:v>43210</c:v>
                </c:pt>
                <c:pt idx="240">
                  <c:v>43209</c:v>
                </c:pt>
                <c:pt idx="241">
                  <c:v>43208</c:v>
                </c:pt>
                <c:pt idx="242">
                  <c:v>43207</c:v>
                </c:pt>
                <c:pt idx="243">
                  <c:v>43206</c:v>
                </c:pt>
                <c:pt idx="244">
                  <c:v>43203</c:v>
                </c:pt>
                <c:pt idx="245">
                  <c:v>43202</c:v>
                </c:pt>
                <c:pt idx="246">
                  <c:v>43201</c:v>
                </c:pt>
                <c:pt idx="247">
                  <c:v>43200</c:v>
                </c:pt>
                <c:pt idx="248">
                  <c:v>43199</c:v>
                </c:pt>
                <c:pt idx="249">
                  <c:v>43196</c:v>
                </c:pt>
                <c:pt idx="250">
                  <c:v>43195</c:v>
                </c:pt>
                <c:pt idx="251">
                  <c:v>43194</c:v>
                </c:pt>
                <c:pt idx="252">
                  <c:v>43193</c:v>
                </c:pt>
                <c:pt idx="253">
                  <c:v>43187</c:v>
                </c:pt>
                <c:pt idx="254">
                  <c:v>43186</c:v>
                </c:pt>
                <c:pt idx="255">
                  <c:v>43185</c:v>
                </c:pt>
                <c:pt idx="256">
                  <c:v>43182</c:v>
                </c:pt>
                <c:pt idx="257">
                  <c:v>43181</c:v>
                </c:pt>
                <c:pt idx="258">
                  <c:v>43180</c:v>
                </c:pt>
                <c:pt idx="259">
                  <c:v>43179</c:v>
                </c:pt>
                <c:pt idx="260">
                  <c:v>43178</c:v>
                </c:pt>
                <c:pt idx="261">
                  <c:v>43175</c:v>
                </c:pt>
                <c:pt idx="262">
                  <c:v>43174</c:v>
                </c:pt>
                <c:pt idx="263">
                  <c:v>43173</c:v>
                </c:pt>
                <c:pt idx="264">
                  <c:v>43172</c:v>
                </c:pt>
                <c:pt idx="265">
                  <c:v>43171</c:v>
                </c:pt>
                <c:pt idx="266">
                  <c:v>43168</c:v>
                </c:pt>
                <c:pt idx="267">
                  <c:v>43167</c:v>
                </c:pt>
                <c:pt idx="268">
                  <c:v>43166</c:v>
                </c:pt>
                <c:pt idx="269">
                  <c:v>43165</c:v>
                </c:pt>
                <c:pt idx="270">
                  <c:v>43164</c:v>
                </c:pt>
                <c:pt idx="271">
                  <c:v>43161</c:v>
                </c:pt>
                <c:pt idx="272">
                  <c:v>43160</c:v>
                </c:pt>
                <c:pt idx="273">
                  <c:v>43159</c:v>
                </c:pt>
                <c:pt idx="274">
                  <c:v>43158</c:v>
                </c:pt>
                <c:pt idx="275">
                  <c:v>43157</c:v>
                </c:pt>
                <c:pt idx="276">
                  <c:v>43154</c:v>
                </c:pt>
                <c:pt idx="277">
                  <c:v>43153</c:v>
                </c:pt>
                <c:pt idx="278">
                  <c:v>43152</c:v>
                </c:pt>
                <c:pt idx="279">
                  <c:v>43151</c:v>
                </c:pt>
                <c:pt idx="280">
                  <c:v>43150</c:v>
                </c:pt>
                <c:pt idx="281">
                  <c:v>43147</c:v>
                </c:pt>
                <c:pt idx="282">
                  <c:v>43146</c:v>
                </c:pt>
                <c:pt idx="283">
                  <c:v>43145</c:v>
                </c:pt>
                <c:pt idx="284">
                  <c:v>43144</c:v>
                </c:pt>
                <c:pt idx="285">
                  <c:v>43143</c:v>
                </c:pt>
                <c:pt idx="286">
                  <c:v>43140</c:v>
                </c:pt>
                <c:pt idx="287">
                  <c:v>43139</c:v>
                </c:pt>
                <c:pt idx="288">
                  <c:v>43138</c:v>
                </c:pt>
                <c:pt idx="289">
                  <c:v>43137</c:v>
                </c:pt>
                <c:pt idx="290">
                  <c:v>43136</c:v>
                </c:pt>
                <c:pt idx="291">
                  <c:v>43133</c:v>
                </c:pt>
                <c:pt idx="292">
                  <c:v>43132</c:v>
                </c:pt>
                <c:pt idx="293">
                  <c:v>43131</c:v>
                </c:pt>
                <c:pt idx="294">
                  <c:v>43130</c:v>
                </c:pt>
                <c:pt idx="295">
                  <c:v>43129</c:v>
                </c:pt>
                <c:pt idx="296">
                  <c:v>43126</c:v>
                </c:pt>
                <c:pt idx="297">
                  <c:v>43125</c:v>
                </c:pt>
                <c:pt idx="298">
                  <c:v>43124</c:v>
                </c:pt>
                <c:pt idx="299">
                  <c:v>43123</c:v>
                </c:pt>
                <c:pt idx="300">
                  <c:v>43122</c:v>
                </c:pt>
                <c:pt idx="301">
                  <c:v>43119</c:v>
                </c:pt>
                <c:pt idx="302">
                  <c:v>43118</c:v>
                </c:pt>
                <c:pt idx="303">
                  <c:v>43117</c:v>
                </c:pt>
                <c:pt idx="304">
                  <c:v>43116</c:v>
                </c:pt>
                <c:pt idx="305">
                  <c:v>43115</c:v>
                </c:pt>
                <c:pt idx="306">
                  <c:v>43112</c:v>
                </c:pt>
                <c:pt idx="307">
                  <c:v>43111</c:v>
                </c:pt>
                <c:pt idx="308">
                  <c:v>43110</c:v>
                </c:pt>
                <c:pt idx="309">
                  <c:v>43109</c:v>
                </c:pt>
                <c:pt idx="310">
                  <c:v>43108</c:v>
                </c:pt>
                <c:pt idx="311">
                  <c:v>43105</c:v>
                </c:pt>
                <c:pt idx="312">
                  <c:v>43104</c:v>
                </c:pt>
                <c:pt idx="313">
                  <c:v>43103</c:v>
                </c:pt>
                <c:pt idx="314">
                  <c:v>43102</c:v>
                </c:pt>
                <c:pt idx="315">
                  <c:v>43098</c:v>
                </c:pt>
                <c:pt idx="316">
                  <c:v>43097</c:v>
                </c:pt>
                <c:pt idx="317">
                  <c:v>43096</c:v>
                </c:pt>
                <c:pt idx="318">
                  <c:v>43091</c:v>
                </c:pt>
                <c:pt idx="319">
                  <c:v>43090</c:v>
                </c:pt>
                <c:pt idx="320">
                  <c:v>43089</c:v>
                </c:pt>
                <c:pt idx="321">
                  <c:v>43088</c:v>
                </c:pt>
                <c:pt idx="322">
                  <c:v>43087</c:v>
                </c:pt>
                <c:pt idx="323">
                  <c:v>43084</c:v>
                </c:pt>
                <c:pt idx="324">
                  <c:v>43083</c:v>
                </c:pt>
                <c:pt idx="325">
                  <c:v>43082</c:v>
                </c:pt>
                <c:pt idx="326">
                  <c:v>43081</c:v>
                </c:pt>
                <c:pt idx="327">
                  <c:v>43080</c:v>
                </c:pt>
                <c:pt idx="328">
                  <c:v>43077</c:v>
                </c:pt>
                <c:pt idx="329">
                  <c:v>43076</c:v>
                </c:pt>
                <c:pt idx="330">
                  <c:v>43075</c:v>
                </c:pt>
                <c:pt idx="331">
                  <c:v>43074</c:v>
                </c:pt>
                <c:pt idx="332">
                  <c:v>43073</c:v>
                </c:pt>
                <c:pt idx="333">
                  <c:v>43070</c:v>
                </c:pt>
                <c:pt idx="334">
                  <c:v>43069</c:v>
                </c:pt>
                <c:pt idx="335">
                  <c:v>43068</c:v>
                </c:pt>
                <c:pt idx="336">
                  <c:v>43067</c:v>
                </c:pt>
                <c:pt idx="337">
                  <c:v>43066</c:v>
                </c:pt>
                <c:pt idx="338">
                  <c:v>43063</c:v>
                </c:pt>
                <c:pt idx="339">
                  <c:v>43062</c:v>
                </c:pt>
                <c:pt idx="340">
                  <c:v>43061</c:v>
                </c:pt>
                <c:pt idx="341">
                  <c:v>43060</c:v>
                </c:pt>
                <c:pt idx="342">
                  <c:v>43059</c:v>
                </c:pt>
                <c:pt idx="343">
                  <c:v>43056</c:v>
                </c:pt>
                <c:pt idx="344">
                  <c:v>43055</c:v>
                </c:pt>
                <c:pt idx="345">
                  <c:v>43054</c:v>
                </c:pt>
                <c:pt idx="346">
                  <c:v>43053</c:v>
                </c:pt>
                <c:pt idx="347">
                  <c:v>43052</c:v>
                </c:pt>
                <c:pt idx="348">
                  <c:v>43049</c:v>
                </c:pt>
                <c:pt idx="349">
                  <c:v>43048</c:v>
                </c:pt>
                <c:pt idx="350">
                  <c:v>43047</c:v>
                </c:pt>
                <c:pt idx="351">
                  <c:v>43046</c:v>
                </c:pt>
                <c:pt idx="352">
                  <c:v>43045</c:v>
                </c:pt>
                <c:pt idx="353">
                  <c:v>43042</c:v>
                </c:pt>
                <c:pt idx="354">
                  <c:v>43041</c:v>
                </c:pt>
                <c:pt idx="355">
                  <c:v>43040</c:v>
                </c:pt>
                <c:pt idx="356">
                  <c:v>43039</c:v>
                </c:pt>
                <c:pt idx="357">
                  <c:v>43038</c:v>
                </c:pt>
                <c:pt idx="358">
                  <c:v>43035</c:v>
                </c:pt>
                <c:pt idx="359">
                  <c:v>43034</c:v>
                </c:pt>
                <c:pt idx="360">
                  <c:v>43033</c:v>
                </c:pt>
                <c:pt idx="361">
                  <c:v>43032</c:v>
                </c:pt>
                <c:pt idx="362">
                  <c:v>43031</c:v>
                </c:pt>
                <c:pt idx="363">
                  <c:v>43028</c:v>
                </c:pt>
                <c:pt idx="364">
                  <c:v>43027</c:v>
                </c:pt>
                <c:pt idx="365">
                  <c:v>43026</c:v>
                </c:pt>
                <c:pt idx="366">
                  <c:v>43025</c:v>
                </c:pt>
                <c:pt idx="367">
                  <c:v>43024</c:v>
                </c:pt>
                <c:pt idx="368">
                  <c:v>43021</c:v>
                </c:pt>
                <c:pt idx="369">
                  <c:v>43020</c:v>
                </c:pt>
                <c:pt idx="370">
                  <c:v>43019</c:v>
                </c:pt>
                <c:pt idx="371">
                  <c:v>43018</c:v>
                </c:pt>
                <c:pt idx="372">
                  <c:v>43017</c:v>
                </c:pt>
                <c:pt idx="373">
                  <c:v>43014</c:v>
                </c:pt>
                <c:pt idx="374">
                  <c:v>43013</c:v>
                </c:pt>
                <c:pt idx="375">
                  <c:v>43012</c:v>
                </c:pt>
                <c:pt idx="376">
                  <c:v>43011</c:v>
                </c:pt>
                <c:pt idx="377">
                  <c:v>43010</c:v>
                </c:pt>
                <c:pt idx="378">
                  <c:v>43007</c:v>
                </c:pt>
                <c:pt idx="379">
                  <c:v>43006</c:v>
                </c:pt>
                <c:pt idx="380">
                  <c:v>43005</c:v>
                </c:pt>
                <c:pt idx="381">
                  <c:v>43004</c:v>
                </c:pt>
                <c:pt idx="382">
                  <c:v>43003</c:v>
                </c:pt>
                <c:pt idx="383">
                  <c:v>43000</c:v>
                </c:pt>
                <c:pt idx="384">
                  <c:v>42999</c:v>
                </c:pt>
                <c:pt idx="385">
                  <c:v>42998</c:v>
                </c:pt>
                <c:pt idx="386">
                  <c:v>42997</c:v>
                </c:pt>
                <c:pt idx="387">
                  <c:v>42996</c:v>
                </c:pt>
                <c:pt idx="388">
                  <c:v>42993</c:v>
                </c:pt>
                <c:pt idx="389">
                  <c:v>42992</c:v>
                </c:pt>
                <c:pt idx="390">
                  <c:v>42991</c:v>
                </c:pt>
                <c:pt idx="391">
                  <c:v>42990</c:v>
                </c:pt>
                <c:pt idx="392">
                  <c:v>42989</c:v>
                </c:pt>
                <c:pt idx="393">
                  <c:v>42986</c:v>
                </c:pt>
                <c:pt idx="394">
                  <c:v>42985</c:v>
                </c:pt>
                <c:pt idx="395">
                  <c:v>42984</c:v>
                </c:pt>
                <c:pt idx="396">
                  <c:v>42983</c:v>
                </c:pt>
                <c:pt idx="397">
                  <c:v>42982</c:v>
                </c:pt>
                <c:pt idx="398">
                  <c:v>42979</c:v>
                </c:pt>
                <c:pt idx="399">
                  <c:v>42978</c:v>
                </c:pt>
                <c:pt idx="400">
                  <c:v>42977</c:v>
                </c:pt>
                <c:pt idx="401">
                  <c:v>42976</c:v>
                </c:pt>
                <c:pt idx="402">
                  <c:v>42975</c:v>
                </c:pt>
                <c:pt idx="403">
                  <c:v>42972</c:v>
                </c:pt>
                <c:pt idx="404">
                  <c:v>42971</c:v>
                </c:pt>
                <c:pt idx="405">
                  <c:v>42970</c:v>
                </c:pt>
                <c:pt idx="406">
                  <c:v>42969</c:v>
                </c:pt>
                <c:pt idx="407">
                  <c:v>42968</c:v>
                </c:pt>
                <c:pt idx="408">
                  <c:v>42965</c:v>
                </c:pt>
                <c:pt idx="409">
                  <c:v>42964</c:v>
                </c:pt>
                <c:pt idx="410">
                  <c:v>42963</c:v>
                </c:pt>
                <c:pt idx="411">
                  <c:v>42962</c:v>
                </c:pt>
                <c:pt idx="412">
                  <c:v>42961</c:v>
                </c:pt>
                <c:pt idx="413">
                  <c:v>42958</c:v>
                </c:pt>
                <c:pt idx="414">
                  <c:v>42957</c:v>
                </c:pt>
                <c:pt idx="415">
                  <c:v>42956</c:v>
                </c:pt>
                <c:pt idx="416">
                  <c:v>42955</c:v>
                </c:pt>
                <c:pt idx="417">
                  <c:v>42954</c:v>
                </c:pt>
                <c:pt idx="418">
                  <c:v>42951</c:v>
                </c:pt>
                <c:pt idx="419">
                  <c:v>42950</c:v>
                </c:pt>
                <c:pt idx="420">
                  <c:v>42949</c:v>
                </c:pt>
                <c:pt idx="421">
                  <c:v>42948</c:v>
                </c:pt>
                <c:pt idx="422">
                  <c:v>42947</c:v>
                </c:pt>
                <c:pt idx="423">
                  <c:v>42944</c:v>
                </c:pt>
                <c:pt idx="424">
                  <c:v>42943</c:v>
                </c:pt>
                <c:pt idx="425">
                  <c:v>42942</c:v>
                </c:pt>
                <c:pt idx="426">
                  <c:v>42941</c:v>
                </c:pt>
                <c:pt idx="427">
                  <c:v>42940</c:v>
                </c:pt>
                <c:pt idx="428">
                  <c:v>42937</c:v>
                </c:pt>
                <c:pt idx="429">
                  <c:v>42936</c:v>
                </c:pt>
                <c:pt idx="430">
                  <c:v>42935</c:v>
                </c:pt>
                <c:pt idx="431">
                  <c:v>42934</c:v>
                </c:pt>
                <c:pt idx="432">
                  <c:v>42933</c:v>
                </c:pt>
                <c:pt idx="433">
                  <c:v>42930</c:v>
                </c:pt>
                <c:pt idx="434">
                  <c:v>42929</c:v>
                </c:pt>
                <c:pt idx="435">
                  <c:v>42928</c:v>
                </c:pt>
                <c:pt idx="436">
                  <c:v>42927</c:v>
                </c:pt>
                <c:pt idx="437">
                  <c:v>42926</c:v>
                </c:pt>
                <c:pt idx="438">
                  <c:v>42923</c:v>
                </c:pt>
                <c:pt idx="439">
                  <c:v>42922</c:v>
                </c:pt>
                <c:pt idx="440">
                  <c:v>42921</c:v>
                </c:pt>
                <c:pt idx="441">
                  <c:v>42920</c:v>
                </c:pt>
                <c:pt idx="442">
                  <c:v>42919</c:v>
                </c:pt>
                <c:pt idx="443">
                  <c:v>42916</c:v>
                </c:pt>
                <c:pt idx="444">
                  <c:v>42915</c:v>
                </c:pt>
                <c:pt idx="445">
                  <c:v>42914</c:v>
                </c:pt>
                <c:pt idx="446">
                  <c:v>42913</c:v>
                </c:pt>
                <c:pt idx="447">
                  <c:v>42912</c:v>
                </c:pt>
                <c:pt idx="448">
                  <c:v>42909</c:v>
                </c:pt>
                <c:pt idx="449">
                  <c:v>42908</c:v>
                </c:pt>
                <c:pt idx="450">
                  <c:v>42907</c:v>
                </c:pt>
                <c:pt idx="451">
                  <c:v>42906</c:v>
                </c:pt>
                <c:pt idx="452">
                  <c:v>42905</c:v>
                </c:pt>
                <c:pt idx="453">
                  <c:v>42902</c:v>
                </c:pt>
                <c:pt idx="454">
                  <c:v>42901</c:v>
                </c:pt>
                <c:pt idx="455">
                  <c:v>42900</c:v>
                </c:pt>
                <c:pt idx="456">
                  <c:v>42899</c:v>
                </c:pt>
                <c:pt idx="457">
                  <c:v>42898</c:v>
                </c:pt>
                <c:pt idx="458">
                  <c:v>42895</c:v>
                </c:pt>
                <c:pt idx="459">
                  <c:v>42894</c:v>
                </c:pt>
                <c:pt idx="460">
                  <c:v>42893</c:v>
                </c:pt>
                <c:pt idx="461">
                  <c:v>42892</c:v>
                </c:pt>
                <c:pt idx="462">
                  <c:v>42888</c:v>
                </c:pt>
                <c:pt idx="463">
                  <c:v>42887</c:v>
                </c:pt>
                <c:pt idx="464">
                  <c:v>42886</c:v>
                </c:pt>
                <c:pt idx="465">
                  <c:v>42885</c:v>
                </c:pt>
                <c:pt idx="466">
                  <c:v>42884</c:v>
                </c:pt>
                <c:pt idx="467">
                  <c:v>42881</c:v>
                </c:pt>
                <c:pt idx="468">
                  <c:v>42879</c:v>
                </c:pt>
                <c:pt idx="469">
                  <c:v>42878</c:v>
                </c:pt>
                <c:pt idx="470">
                  <c:v>42877</c:v>
                </c:pt>
                <c:pt idx="471">
                  <c:v>42874</c:v>
                </c:pt>
                <c:pt idx="472">
                  <c:v>42873</c:v>
                </c:pt>
                <c:pt idx="473">
                  <c:v>42871</c:v>
                </c:pt>
                <c:pt idx="474">
                  <c:v>42870</c:v>
                </c:pt>
                <c:pt idx="475">
                  <c:v>42867</c:v>
                </c:pt>
                <c:pt idx="476">
                  <c:v>42866</c:v>
                </c:pt>
                <c:pt idx="477">
                  <c:v>42865</c:v>
                </c:pt>
                <c:pt idx="478">
                  <c:v>42864</c:v>
                </c:pt>
                <c:pt idx="479">
                  <c:v>42863</c:v>
                </c:pt>
                <c:pt idx="480">
                  <c:v>42860</c:v>
                </c:pt>
                <c:pt idx="481">
                  <c:v>42859</c:v>
                </c:pt>
                <c:pt idx="482">
                  <c:v>42858</c:v>
                </c:pt>
                <c:pt idx="483">
                  <c:v>42857</c:v>
                </c:pt>
                <c:pt idx="484">
                  <c:v>42853</c:v>
                </c:pt>
                <c:pt idx="485">
                  <c:v>42852</c:v>
                </c:pt>
                <c:pt idx="486">
                  <c:v>42851</c:v>
                </c:pt>
                <c:pt idx="487">
                  <c:v>42850</c:v>
                </c:pt>
                <c:pt idx="488">
                  <c:v>42849</c:v>
                </c:pt>
                <c:pt idx="489">
                  <c:v>42846</c:v>
                </c:pt>
                <c:pt idx="490">
                  <c:v>42845</c:v>
                </c:pt>
                <c:pt idx="491">
                  <c:v>42844</c:v>
                </c:pt>
                <c:pt idx="492">
                  <c:v>42843</c:v>
                </c:pt>
                <c:pt idx="493">
                  <c:v>42837</c:v>
                </c:pt>
                <c:pt idx="494">
                  <c:v>42836</c:v>
                </c:pt>
                <c:pt idx="495">
                  <c:v>42835</c:v>
                </c:pt>
                <c:pt idx="496">
                  <c:v>42832</c:v>
                </c:pt>
                <c:pt idx="497">
                  <c:v>42831</c:v>
                </c:pt>
                <c:pt idx="498">
                  <c:v>42830</c:v>
                </c:pt>
                <c:pt idx="499">
                  <c:v>42829</c:v>
                </c:pt>
                <c:pt idx="500">
                  <c:v>42828</c:v>
                </c:pt>
                <c:pt idx="501">
                  <c:v>42825</c:v>
                </c:pt>
                <c:pt idx="502">
                  <c:v>42824</c:v>
                </c:pt>
                <c:pt idx="503">
                  <c:v>42823</c:v>
                </c:pt>
                <c:pt idx="504">
                  <c:v>42822</c:v>
                </c:pt>
                <c:pt idx="505">
                  <c:v>42821</c:v>
                </c:pt>
                <c:pt idx="506">
                  <c:v>42818</c:v>
                </c:pt>
                <c:pt idx="507">
                  <c:v>42817</c:v>
                </c:pt>
                <c:pt idx="508">
                  <c:v>42816</c:v>
                </c:pt>
                <c:pt idx="509">
                  <c:v>42815</c:v>
                </c:pt>
                <c:pt idx="510">
                  <c:v>42814</c:v>
                </c:pt>
                <c:pt idx="511">
                  <c:v>42811</c:v>
                </c:pt>
                <c:pt idx="512">
                  <c:v>42810</c:v>
                </c:pt>
                <c:pt idx="513">
                  <c:v>42809</c:v>
                </c:pt>
                <c:pt idx="514">
                  <c:v>42808</c:v>
                </c:pt>
                <c:pt idx="515">
                  <c:v>42807</c:v>
                </c:pt>
                <c:pt idx="516">
                  <c:v>42804</c:v>
                </c:pt>
                <c:pt idx="517">
                  <c:v>42803</c:v>
                </c:pt>
                <c:pt idx="518">
                  <c:v>42802</c:v>
                </c:pt>
                <c:pt idx="519">
                  <c:v>42801</c:v>
                </c:pt>
                <c:pt idx="520">
                  <c:v>42800</c:v>
                </c:pt>
                <c:pt idx="521">
                  <c:v>42797</c:v>
                </c:pt>
                <c:pt idx="522">
                  <c:v>42796</c:v>
                </c:pt>
                <c:pt idx="523">
                  <c:v>42795</c:v>
                </c:pt>
                <c:pt idx="524">
                  <c:v>42794</c:v>
                </c:pt>
                <c:pt idx="525">
                  <c:v>42793</c:v>
                </c:pt>
                <c:pt idx="526">
                  <c:v>42790</c:v>
                </c:pt>
                <c:pt idx="527">
                  <c:v>42789</c:v>
                </c:pt>
                <c:pt idx="528">
                  <c:v>42788</c:v>
                </c:pt>
                <c:pt idx="529">
                  <c:v>42787</c:v>
                </c:pt>
                <c:pt idx="530">
                  <c:v>42786</c:v>
                </c:pt>
                <c:pt idx="531">
                  <c:v>42783</c:v>
                </c:pt>
                <c:pt idx="532">
                  <c:v>42782</c:v>
                </c:pt>
                <c:pt idx="533">
                  <c:v>42781</c:v>
                </c:pt>
                <c:pt idx="534">
                  <c:v>42780</c:v>
                </c:pt>
                <c:pt idx="535">
                  <c:v>42779</c:v>
                </c:pt>
                <c:pt idx="536">
                  <c:v>42776</c:v>
                </c:pt>
                <c:pt idx="537">
                  <c:v>42775</c:v>
                </c:pt>
                <c:pt idx="538">
                  <c:v>42774</c:v>
                </c:pt>
                <c:pt idx="539">
                  <c:v>42773</c:v>
                </c:pt>
                <c:pt idx="540">
                  <c:v>42772</c:v>
                </c:pt>
                <c:pt idx="541">
                  <c:v>42769</c:v>
                </c:pt>
                <c:pt idx="542">
                  <c:v>42768</c:v>
                </c:pt>
                <c:pt idx="543">
                  <c:v>42767</c:v>
                </c:pt>
                <c:pt idx="544">
                  <c:v>42766</c:v>
                </c:pt>
                <c:pt idx="545">
                  <c:v>42765</c:v>
                </c:pt>
                <c:pt idx="546">
                  <c:v>42762</c:v>
                </c:pt>
                <c:pt idx="547">
                  <c:v>42761</c:v>
                </c:pt>
                <c:pt idx="548">
                  <c:v>42760</c:v>
                </c:pt>
                <c:pt idx="549">
                  <c:v>42759</c:v>
                </c:pt>
                <c:pt idx="550">
                  <c:v>42758</c:v>
                </c:pt>
                <c:pt idx="551">
                  <c:v>42755</c:v>
                </c:pt>
                <c:pt idx="552">
                  <c:v>42754</c:v>
                </c:pt>
                <c:pt idx="553">
                  <c:v>42753</c:v>
                </c:pt>
                <c:pt idx="554">
                  <c:v>42752</c:v>
                </c:pt>
                <c:pt idx="555">
                  <c:v>42751</c:v>
                </c:pt>
                <c:pt idx="556">
                  <c:v>42748</c:v>
                </c:pt>
                <c:pt idx="557">
                  <c:v>42747</c:v>
                </c:pt>
                <c:pt idx="558">
                  <c:v>42746</c:v>
                </c:pt>
                <c:pt idx="559">
                  <c:v>42745</c:v>
                </c:pt>
                <c:pt idx="560">
                  <c:v>42744</c:v>
                </c:pt>
                <c:pt idx="561">
                  <c:v>42741</c:v>
                </c:pt>
                <c:pt idx="562">
                  <c:v>42740</c:v>
                </c:pt>
                <c:pt idx="563">
                  <c:v>42739</c:v>
                </c:pt>
                <c:pt idx="564">
                  <c:v>42738</c:v>
                </c:pt>
                <c:pt idx="565">
                  <c:v>42737</c:v>
                </c:pt>
                <c:pt idx="566">
                  <c:v>42734</c:v>
                </c:pt>
                <c:pt idx="567">
                  <c:v>42733</c:v>
                </c:pt>
                <c:pt idx="568">
                  <c:v>42732</c:v>
                </c:pt>
                <c:pt idx="569">
                  <c:v>42731</c:v>
                </c:pt>
                <c:pt idx="570">
                  <c:v>42727</c:v>
                </c:pt>
                <c:pt idx="571">
                  <c:v>42726</c:v>
                </c:pt>
                <c:pt idx="572">
                  <c:v>42725</c:v>
                </c:pt>
                <c:pt idx="573">
                  <c:v>42724</c:v>
                </c:pt>
                <c:pt idx="574">
                  <c:v>42723</c:v>
                </c:pt>
                <c:pt idx="575">
                  <c:v>42720</c:v>
                </c:pt>
                <c:pt idx="576">
                  <c:v>42719</c:v>
                </c:pt>
                <c:pt idx="577">
                  <c:v>42718</c:v>
                </c:pt>
                <c:pt idx="578">
                  <c:v>42717</c:v>
                </c:pt>
                <c:pt idx="579">
                  <c:v>42716</c:v>
                </c:pt>
                <c:pt idx="580">
                  <c:v>42713</c:v>
                </c:pt>
                <c:pt idx="581">
                  <c:v>42712</c:v>
                </c:pt>
                <c:pt idx="582">
                  <c:v>42711</c:v>
                </c:pt>
                <c:pt idx="583">
                  <c:v>42710</c:v>
                </c:pt>
                <c:pt idx="584">
                  <c:v>42709</c:v>
                </c:pt>
                <c:pt idx="585">
                  <c:v>42706</c:v>
                </c:pt>
                <c:pt idx="586">
                  <c:v>42705</c:v>
                </c:pt>
                <c:pt idx="587">
                  <c:v>42704</c:v>
                </c:pt>
                <c:pt idx="588">
                  <c:v>42703</c:v>
                </c:pt>
                <c:pt idx="589">
                  <c:v>42702</c:v>
                </c:pt>
                <c:pt idx="590">
                  <c:v>42699</c:v>
                </c:pt>
                <c:pt idx="591">
                  <c:v>42698</c:v>
                </c:pt>
                <c:pt idx="592">
                  <c:v>42697</c:v>
                </c:pt>
                <c:pt idx="593">
                  <c:v>42696</c:v>
                </c:pt>
                <c:pt idx="594">
                  <c:v>42695</c:v>
                </c:pt>
                <c:pt idx="595">
                  <c:v>42692</c:v>
                </c:pt>
                <c:pt idx="596">
                  <c:v>42691</c:v>
                </c:pt>
                <c:pt idx="597">
                  <c:v>42690</c:v>
                </c:pt>
                <c:pt idx="598">
                  <c:v>42689</c:v>
                </c:pt>
                <c:pt idx="599">
                  <c:v>42688</c:v>
                </c:pt>
                <c:pt idx="600">
                  <c:v>42685</c:v>
                </c:pt>
                <c:pt idx="601">
                  <c:v>42684</c:v>
                </c:pt>
                <c:pt idx="602">
                  <c:v>42683</c:v>
                </c:pt>
                <c:pt idx="603">
                  <c:v>42682</c:v>
                </c:pt>
                <c:pt idx="604">
                  <c:v>42681</c:v>
                </c:pt>
                <c:pt idx="605">
                  <c:v>42678</c:v>
                </c:pt>
                <c:pt idx="606">
                  <c:v>42677</c:v>
                </c:pt>
                <c:pt idx="607">
                  <c:v>42676</c:v>
                </c:pt>
                <c:pt idx="608">
                  <c:v>42675</c:v>
                </c:pt>
                <c:pt idx="609">
                  <c:v>42674</c:v>
                </c:pt>
                <c:pt idx="610">
                  <c:v>42671</c:v>
                </c:pt>
                <c:pt idx="611">
                  <c:v>42670</c:v>
                </c:pt>
                <c:pt idx="612">
                  <c:v>42669</c:v>
                </c:pt>
                <c:pt idx="613">
                  <c:v>42668</c:v>
                </c:pt>
                <c:pt idx="614">
                  <c:v>42667</c:v>
                </c:pt>
                <c:pt idx="615">
                  <c:v>42664</c:v>
                </c:pt>
                <c:pt idx="616">
                  <c:v>42663</c:v>
                </c:pt>
                <c:pt idx="617">
                  <c:v>42662</c:v>
                </c:pt>
                <c:pt idx="618">
                  <c:v>42661</c:v>
                </c:pt>
                <c:pt idx="619">
                  <c:v>42660</c:v>
                </c:pt>
                <c:pt idx="620">
                  <c:v>42657</c:v>
                </c:pt>
                <c:pt idx="621">
                  <c:v>42656</c:v>
                </c:pt>
                <c:pt idx="622">
                  <c:v>42655</c:v>
                </c:pt>
                <c:pt idx="623">
                  <c:v>42654</c:v>
                </c:pt>
                <c:pt idx="624">
                  <c:v>42653</c:v>
                </c:pt>
                <c:pt idx="625">
                  <c:v>42650</c:v>
                </c:pt>
                <c:pt idx="626">
                  <c:v>42649</c:v>
                </c:pt>
                <c:pt idx="627">
                  <c:v>42648</c:v>
                </c:pt>
                <c:pt idx="628">
                  <c:v>42647</c:v>
                </c:pt>
                <c:pt idx="629">
                  <c:v>42646</c:v>
                </c:pt>
                <c:pt idx="630">
                  <c:v>42643</c:v>
                </c:pt>
                <c:pt idx="631">
                  <c:v>42642</c:v>
                </c:pt>
                <c:pt idx="632">
                  <c:v>42641</c:v>
                </c:pt>
                <c:pt idx="633">
                  <c:v>42640</c:v>
                </c:pt>
                <c:pt idx="634">
                  <c:v>42639</c:v>
                </c:pt>
                <c:pt idx="635">
                  <c:v>42636</c:v>
                </c:pt>
                <c:pt idx="636">
                  <c:v>42635</c:v>
                </c:pt>
                <c:pt idx="637">
                  <c:v>42634</c:v>
                </c:pt>
                <c:pt idx="638">
                  <c:v>42633</c:v>
                </c:pt>
                <c:pt idx="639">
                  <c:v>42632</c:v>
                </c:pt>
                <c:pt idx="640">
                  <c:v>42629</c:v>
                </c:pt>
                <c:pt idx="641">
                  <c:v>42628</c:v>
                </c:pt>
                <c:pt idx="642">
                  <c:v>42627</c:v>
                </c:pt>
                <c:pt idx="643">
                  <c:v>42626</c:v>
                </c:pt>
                <c:pt idx="644">
                  <c:v>42625</c:v>
                </c:pt>
                <c:pt idx="645">
                  <c:v>42622</c:v>
                </c:pt>
                <c:pt idx="646">
                  <c:v>42621</c:v>
                </c:pt>
                <c:pt idx="647">
                  <c:v>42620</c:v>
                </c:pt>
                <c:pt idx="648">
                  <c:v>42619</c:v>
                </c:pt>
                <c:pt idx="649">
                  <c:v>42618</c:v>
                </c:pt>
                <c:pt idx="650">
                  <c:v>42615</c:v>
                </c:pt>
                <c:pt idx="651">
                  <c:v>42614</c:v>
                </c:pt>
                <c:pt idx="652">
                  <c:v>42613</c:v>
                </c:pt>
                <c:pt idx="653">
                  <c:v>42612</c:v>
                </c:pt>
                <c:pt idx="654">
                  <c:v>42611</c:v>
                </c:pt>
                <c:pt idx="655">
                  <c:v>42608</c:v>
                </c:pt>
                <c:pt idx="656">
                  <c:v>42607</c:v>
                </c:pt>
                <c:pt idx="657">
                  <c:v>42606</c:v>
                </c:pt>
                <c:pt idx="658">
                  <c:v>42605</c:v>
                </c:pt>
                <c:pt idx="659">
                  <c:v>42604</c:v>
                </c:pt>
                <c:pt idx="660">
                  <c:v>42601</c:v>
                </c:pt>
                <c:pt idx="661">
                  <c:v>42600</c:v>
                </c:pt>
                <c:pt idx="662">
                  <c:v>42599</c:v>
                </c:pt>
                <c:pt idx="663">
                  <c:v>42598</c:v>
                </c:pt>
                <c:pt idx="664">
                  <c:v>42597</c:v>
                </c:pt>
                <c:pt idx="665">
                  <c:v>42594</c:v>
                </c:pt>
                <c:pt idx="666">
                  <c:v>42593</c:v>
                </c:pt>
                <c:pt idx="667">
                  <c:v>42592</c:v>
                </c:pt>
                <c:pt idx="668">
                  <c:v>42591</c:v>
                </c:pt>
                <c:pt idx="669">
                  <c:v>42590</c:v>
                </c:pt>
                <c:pt idx="670">
                  <c:v>42587</c:v>
                </c:pt>
                <c:pt idx="671">
                  <c:v>42586</c:v>
                </c:pt>
                <c:pt idx="672">
                  <c:v>42585</c:v>
                </c:pt>
                <c:pt idx="673">
                  <c:v>42584</c:v>
                </c:pt>
                <c:pt idx="674">
                  <c:v>42583</c:v>
                </c:pt>
                <c:pt idx="675">
                  <c:v>42580</c:v>
                </c:pt>
                <c:pt idx="676">
                  <c:v>42579</c:v>
                </c:pt>
                <c:pt idx="677">
                  <c:v>42578</c:v>
                </c:pt>
                <c:pt idx="678">
                  <c:v>42577</c:v>
                </c:pt>
                <c:pt idx="679">
                  <c:v>42576</c:v>
                </c:pt>
                <c:pt idx="680">
                  <c:v>42573</c:v>
                </c:pt>
                <c:pt idx="681">
                  <c:v>42572</c:v>
                </c:pt>
                <c:pt idx="682">
                  <c:v>42571</c:v>
                </c:pt>
                <c:pt idx="683">
                  <c:v>42570</c:v>
                </c:pt>
                <c:pt idx="684">
                  <c:v>42569</c:v>
                </c:pt>
                <c:pt idx="685">
                  <c:v>42566</c:v>
                </c:pt>
                <c:pt idx="686">
                  <c:v>42565</c:v>
                </c:pt>
                <c:pt idx="687">
                  <c:v>42564</c:v>
                </c:pt>
                <c:pt idx="688">
                  <c:v>42563</c:v>
                </c:pt>
                <c:pt idx="689">
                  <c:v>42562</c:v>
                </c:pt>
                <c:pt idx="690">
                  <c:v>42559</c:v>
                </c:pt>
                <c:pt idx="691">
                  <c:v>42558</c:v>
                </c:pt>
                <c:pt idx="692">
                  <c:v>42557</c:v>
                </c:pt>
                <c:pt idx="693">
                  <c:v>42556</c:v>
                </c:pt>
                <c:pt idx="694">
                  <c:v>42555</c:v>
                </c:pt>
                <c:pt idx="695">
                  <c:v>42552</c:v>
                </c:pt>
                <c:pt idx="696">
                  <c:v>42551</c:v>
                </c:pt>
                <c:pt idx="697">
                  <c:v>42550</c:v>
                </c:pt>
                <c:pt idx="698">
                  <c:v>42549</c:v>
                </c:pt>
                <c:pt idx="699">
                  <c:v>42548</c:v>
                </c:pt>
                <c:pt idx="700">
                  <c:v>42545</c:v>
                </c:pt>
                <c:pt idx="701">
                  <c:v>42544</c:v>
                </c:pt>
                <c:pt idx="702">
                  <c:v>42543</c:v>
                </c:pt>
                <c:pt idx="703">
                  <c:v>42542</c:v>
                </c:pt>
                <c:pt idx="704">
                  <c:v>42541</c:v>
                </c:pt>
                <c:pt idx="705">
                  <c:v>42538</c:v>
                </c:pt>
                <c:pt idx="706">
                  <c:v>42537</c:v>
                </c:pt>
                <c:pt idx="707">
                  <c:v>42536</c:v>
                </c:pt>
                <c:pt idx="708">
                  <c:v>42535</c:v>
                </c:pt>
                <c:pt idx="709">
                  <c:v>42534</c:v>
                </c:pt>
                <c:pt idx="710">
                  <c:v>42531</c:v>
                </c:pt>
                <c:pt idx="711">
                  <c:v>42530</c:v>
                </c:pt>
                <c:pt idx="712">
                  <c:v>42529</c:v>
                </c:pt>
                <c:pt idx="713">
                  <c:v>42528</c:v>
                </c:pt>
                <c:pt idx="714">
                  <c:v>42527</c:v>
                </c:pt>
                <c:pt idx="715">
                  <c:v>42524</c:v>
                </c:pt>
                <c:pt idx="716">
                  <c:v>42523</c:v>
                </c:pt>
                <c:pt idx="717">
                  <c:v>42522</c:v>
                </c:pt>
                <c:pt idx="718">
                  <c:v>42521</c:v>
                </c:pt>
                <c:pt idx="719">
                  <c:v>42520</c:v>
                </c:pt>
                <c:pt idx="720">
                  <c:v>42517</c:v>
                </c:pt>
                <c:pt idx="721">
                  <c:v>42516</c:v>
                </c:pt>
                <c:pt idx="722">
                  <c:v>42515</c:v>
                </c:pt>
                <c:pt idx="723">
                  <c:v>42514</c:v>
                </c:pt>
                <c:pt idx="724">
                  <c:v>42513</c:v>
                </c:pt>
                <c:pt idx="725">
                  <c:v>42510</c:v>
                </c:pt>
                <c:pt idx="726">
                  <c:v>42509</c:v>
                </c:pt>
                <c:pt idx="727">
                  <c:v>42508</c:v>
                </c:pt>
                <c:pt idx="728">
                  <c:v>42503</c:v>
                </c:pt>
                <c:pt idx="729">
                  <c:v>42502</c:v>
                </c:pt>
                <c:pt idx="730">
                  <c:v>42501</c:v>
                </c:pt>
                <c:pt idx="731">
                  <c:v>42500</c:v>
                </c:pt>
                <c:pt idx="732">
                  <c:v>42499</c:v>
                </c:pt>
                <c:pt idx="733">
                  <c:v>42496</c:v>
                </c:pt>
                <c:pt idx="734">
                  <c:v>42494</c:v>
                </c:pt>
                <c:pt idx="735">
                  <c:v>42493</c:v>
                </c:pt>
                <c:pt idx="736">
                  <c:v>42492</c:v>
                </c:pt>
                <c:pt idx="737">
                  <c:v>42489</c:v>
                </c:pt>
                <c:pt idx="738">
                  <c:v>42488</c:v>
                </c:pt>
                <c:pt idx="739">
                  <c:v>42487</c:v>
                </c:pt>
                <c:pt idx="740">
                  <c:v>42486</c:v>
                </c:pt>
                <c:pt idx="741">
                  <c:v>42485</c:v>
                </c:pt>
                <c:pt idx="742">
                  <c:v>42482</c:v>
                </c:pt>
                <c:pt idx="743">
                  <c:v>42481</c:v>
                </c:pt>
                <c:pt idx="744">
                  <c:v>42480</c:v>
                </c:pt>
                <c:pt idx="745">
                  <c:v>42479</c:v>
                </c:pt>
                <c:pt idx="746">
                  <c:v>42478</c:v>
                </c:pt>
                <c:pt idx="747">
                  <c:v>42475</c:v>
                </c:pt>
                <c:pt idx="748">
                  <c:v>42474</c:v>
                </c:pt>
                <c:pt idx="749">
                  <c:v>42473</c:v>
                </c:pt>
                <c:pt idx="750">
                  <c:v>42472</c:v>
                </c:pt>
                <c:pt idx="751">
                  <c:v>42471</c:v>
                </c:pt>
                <c:pt idx="752">
                  <c:v>42468</c:v>
                </c:pt>
                <c:pt idx="753">
                  <c:v>42467</c:v>
                </c:pt>
                <c:pt idx="754">
                  <c:v>42466</c:v>
                </c:pt>
                <c:pt idx="755">
                  <c:v>42465</c:v>
                </c:pt>
                <c:pt idx="756">
                  <c:v>42464</c:v>
                </c:pt>
                <c:pt idx="757">
                  <c:v>42461</c:v>
                </c:pt>
                <c:pt idx="758">
                  <c:v>42460</c:v>
                </c:pt>
              </c:numCache>
            </c:numRef>
          </c:cat>
          <c:val>
            <c:numRef>
              <c:f>'Ark1'!$B$2:$B$760</c:f>
              <c:numCache>
                <c:formatCode>General</c:formatCode>
                <c:ptCount val="759"/>
                <c:pt idx="3" formatCode="#,##0.00###">
                  <c:v>36</c:v>
                </c:pt>
                <c:pt idx="4" formatCode="#,##0.00###">
                  <c:v>38.9</c:v>
                </c:pt>
                <c:pt idx="5" formatCode="#,##0.00###">
                  <c:v>38.9</c:v>
                </c:pt>
                <c:pt idx="6" formatCode="#,##0.00###">
                  <c:v>38.9</c:v>
                </c:pt>
                <c:pt idx="7" formatCode="#,##0.00###">
                  <c:v>39.299999999999997</c:v>
                </c:pt>
                <c:pt idx="8" formatCode="#,##0.00###">
                  <c:v>39.299999999999997</c:v>
                </c:pt>
                <c:pt idx="9" formatCode="#,##0.00###">
                  <c:v>39.6</c:v>
                </c:pt>
                <c:pt idx="10" formatCode="#,##0.00###">
                  <c:v>39.5</c:v>
                </c:pt>
                <c:pt idx="11" formatCode="#,##0.00###">
                  <c:v>39.4</c:v>
                </c:pt>
                <c:pt idx="12" formatCode="#,##0.00###">
                  <c:v>39.200000000000003</c:v>
                </c:pt>
                <c:pt idx="13" formatCode="#,##0.00###">
                  <c:v>39</c:v>
                </c:pt>
                <c:pt idx="14" formatCode="#,##0.00###">
                  <c:v>39</c:v>
                </c:pt>
                <c:pt idx="15" formatCode="#,##0.00###">
                  <c:v>38.9</c:v>
                </c:pt>
                <c:pt idx="16" formatCode="#,##0.00###">
                  <c:v>38.700000000000003</c:v>
                </c:pt>
                <c:pt idx="17" formatCode="#,##0.00###">
                  <c:v>39</c:v>
                </c:pt>
                <c:pt idx="18" formatCode="#,##0.00###">
                  <c:v>38.799999999999997</c:v>
                </c:pt>
                <c:pt idx="19" formatCode="#,##0.00###">
                  <c:v>39</c:v>
                </c:pt>
                <c:pt idx="20" formatCode="#,##0.00###">
                  <c:v>39.1</c:v>
                </c:pt>
                <c:pt idx="21" formatCode="#,##0.00###">
                  <c:v>39.1</c:v>
                </c:pt>
                <c:pt idx="22" formatCode="#,##0.00###">
                  <c:v>38.799999999999997</c:v>
                </c:pt>
                <c:pt idx="23" formatCode="#,##0.00###">
                  <c:v>39.200000000000003</c:v>
                </c:pt>
                <c:pt idx="24" formatCode="#,##0.00###">
                  <c:v>39</c:v>
                </c:pt>
                <c:pt idx="25" formatCode="#,##0.00###">
                  <c:v>39.200000000000003</c:v>
                </c:pt>
                <c:pt idx="26" formatCode="#,##0.00###">
                  <c:v>38.799999999999997</c:v>
                </c:pt>
                <c:pt idx="27" formatCode="#,##0.00###">
                  <c:v>39</c:v>
                </c:pt>
                <c:pt idx="28" formatCode="#,##0.00###">
                  <c:v>39</c:v>
                </c:pt>
                <c:pt idx="29" formatCode="#,##0.00###">
                  <c:v>39.200000000000003</c:v>
                </c:pt>
                <c:pt idx="30" formatCode="#,##0.00###">
                  <c:v>38.799999999999997</c:v>
                </c:pt>
                <c:pt idx="31" formatCode="#,##0.00###">
                  <c:v>39</c:v>
                </c:pt>
                <c:pt idx="32" formatCode="#,##0.00###">
                  <c:v>38.5</c:v>
                </c:pt>
                <c:pt idx="33" formatCode="#,##0.00###">
                  <c:v>38.299999999999997</c:v>
                </c:pt>
                <c:pt idx="34" formatCode="#,##0.00###">
                  <c:v>37.700000000000003</c:v>
                </c:pt>
                <c:pt idx="35" formatCode="#,##0.00###">
                  <c:v>38</c:v>
                </c:pt>
                <c:pt idx="36" formatCode="#,##0.00###">
                  <c:v>38.200000000000003</c:v>
                </c:pt>
                <c:pt idx="37" formatCode="#,##0.00###">
                  <c:v>37.9</c:v>
                </c:pt>
                <c:pt idx="38" formatCode="#,##0.00###">
                  <c:v>38</c:v>
                </c:pt>
                <c:pt idx="39" formatCode="#,##0.00###">
                  <c:v>37.700000000000003</c:v>
                </c:pt>
                <c:pt idx="40" formatCode="#,##0.00###">
                  <c:v>37.299999999999997</c:v>
                </c:pt>
                <c:pt idx="41" formatCode="#,##0.00###">
                  <c:v>37</c:v>
                </c:pt>
                <c:pt idx="42" formatCode="#,##0.00###">
                  <c:v>37</c:v>
                </c:pt>
                <c:pt idx="43" formatCode="#,##0.00###">
                  <c:v>37</c:v>
                </c:pt>
                <c:pt idx="44" formatCode="#,##0.00###">
                  <c:v>37</c:v>
                </c:pt>
                <c:pt idx="45" formatCode="#,##0.00###">
                  <c:v>36.799999999999997</c:v>
                </c:pt>
                <c:pt idx="46" formatCode="#,##0.00###">
                  <c:v>37.1</c:v>
                </c:pt>
                <c:pt idx="47" formatCode="#,##0.00###">
                  <c:v>36.799999999999997</c:v>
                </c:pt>
                <c:pt idx="48" formatCode="#,##0.00###">
                  <c:v>36.700000000000003</c:v>
                </c:pt>
                <c:pt idx="49" formatCode="#,##0.00###">
                  <c:v>36.200000000000003</c:v>
                </c:pt>
                <c:pt idx="50" formatCode="#,##0.00###">
                  <c:v>36</c:v>
                </c:pt>
                <c:pt idx="51" formatCode="#,##0.00###">
                  <c:v>36.200000000000003</c:v>
                </c:pt>
                <c:pt idx="52" formatCode="#,##0.00###">
                  <c:v>36.4</c:v>
                </c:pt>
                <c:pt idx="53" formatCode="#,##0.00###">
                  <c:v>36.6</c:v>
                </c:pt>
                <c:pt idx="54" formatCode="#,##0.00###">
                  <c:v>36</c:v>
                </c:pt>
                <c:pt idx="55" formatCode="#,##0.00###">
                  <c:v>36.4</c:v>
                </c:pt>
                <c:pt idx="56" formatCode="#,##0.00###">
                  <c:v>36.5</c:v>
                </c:pt>
                <c:pt idx="57" formatCode="#,##0.00###">
                  <c:v>36.299999999999997</c:v>
                </c:pt>
                <c:pt idx="58" formatCode="#,##0.00###">
                  <c:v>36.200000000000003</c:v>
                </c:pt>
                <c:pt idx="59" formatCode="#,##0.00###">
                  <c:v>35.799999999999997</c:v>
                </c:pt>
                <c:pt idx="60" formatCode="#,##0.00###">
                  <c:v>36</c:v>
                </c:pt>
                <c:pt idx="61" formatCode="#,##0.00###">
                  <c:v>35.9</c:v>
                </c:pt>
                <c:pt idx="62" formatCode="#,##0.00###">
                  <c:v>35.799999999999997</c:v>
                </c:pt>
                <c:pt idx="63" formatCode="#,##0.00###">
                  <c:v>35.799999999999997</c:v>
                </c:pt>
                <c:pt idx="64" formatCode="#,##0.00###">
                  <c:v>35.799999999999997</c:v>
                </c:pt>
                <c:pt idx="65" formatCode="#,##0.00###">
                  <c:v>35.6</c:v>
                </c:pt>
                <c:pt idx="66" formatCode="_ * #,##0.0_ ;_ * \-#,##0.0_ ;_ * &quot;-&quot;??_ ;_ @_ ">
                  <c:v>35.6</c:v>
                </c:pt>
                <c:pt idx="67" formatCode="_ * #,##0.0_ ;_ * \-#,##0.0_ ;_ * &quot;-&quot;??_ ;_ @_ ">
                  <c:v>34.9</c:v>
                </c:pt>
                <c:pt idx="68" formatCode="_ * #,##0.0_ ;_ * \-#,##0.0_ ;_ * &quot;-&quot;??_ ;_ @_ ">
                  <c:v>34.5</c:v>
                </c:pt>
                <c:pt idx="69" formatCode="_ * #,##0.0_ ;_ * \-#,##0.0_ ;_ * &quot;-&quot;??_ ;_ @_ ">
                  <c:v>34</c:v>
                </c:pt>
                <c:pt idx="70" formatCode="_ * #,##0.0_ ;_ * \-#,##0.0_ ;_ * &quot;-&quot;??_ ;_ @_ ">
                  <c:v>34.799999999999997</c:v>
                </c:pt>
                <c:pt idx="71" formatCode="_ * #,##0.0_ ;_ * \-#,##0.0_ ;_ * &quot;-&quot;??_ ;_ @_ ">
                  <c:v>34.700000000000003</c:v>
                </c:pt>
                <c:pt idx="72" formatCode="_ * #,##0.0_ ;_ * \-#,##0.0_ ;_ * &quot;-&quot;??_ ;_ @_ ">
                  <c:v>35</c:v>
                </c:pt>
                <c:pt idx="73" formatCode="_ * #,##0.0_ ;_ * \-#,##0.0_ ;_ * &quot;-&quot;??_ ;_ @_ ">
                  <c:v>35.299999999999997</c:v>
                </c:pt>
                <c:pt idx="74" formatCode="_ * #,##0.0_ ;_ * \-#,##0.0_ ;_ * &quot;-&quot;??_ ;_ @_ ">
                  <c:v>35.4</c:v>
                </c:pt>
                <c:pt idx="75" formatCode="_ * #,##0.0_ ;_ * \-#,##0.0_ ;_ * &quot;-&quot;??_ ;_ @_ ">
                  <c:v>35.299999999999997</c:v>
                </c:pt>
                <c:pt idx="76" formatCode="_ * #,##0.0_ ;_ * \-#,##0.0_ ;_ * &quot;-&quot;??_ ;_ @_ ">
                  <c:v>34.700000000000003</c:v>
                </c:pt>
                <c:pt idx="77" formatCode="_ * #,##0.0_ ;_ * \-#,##0.0_ ;_ * &quot;-&quot;??_ ;_ @_ ">
                  <c:v>34.9</c:v>
                </c:pt>
                <c:pt idx="78" formatCode="_ * #,##0.0_ ;_ * \-#,##0.0_ ;_ * &quot;-&quot;??_ ;_ @_ ">
                  <c:v>35.5</c:v>
                </c:pt>
                <c:pt idx="79" formatCode="_ * #,##0.0_ ;_ * \-#,##0.0_ ;_ * &quot;-&quot;??_ ;_ @_ ">
                  <c:v>35.299999999999997</c:v>
                </c:pt>
                <c:pt idx="80" formatCode="_ * #,##0.0_ ;_ * \-#,##0.0_ ;_ * &quot;-&quot;??_ ;_ @_ ">
                  <c:v>35.700000000000003</c:v>
                </c:pt>
                <c:pt idx="81" formatCode="_ * #,##0.0_ ;_ * \-#,##0.0_ ;_ * &quot;-&quot;??_ ;_ @_ ">
                  <c:v>36</c:v>
                </c:pt>
                <c:pt idx="82" formatCode="_ * #,##0.0_ ;_ * \-#,##0.0_ ;_ * &quot;-&quot;??_ ;_ @_ ">
                  <c:v>35.799999999999997</c:v>
                </c:pt>
                <c:pt idx="83" formatCode="_ * #,##0.0_ ;_ * \-#,##0.0_ ;_ * &quot;-&quot;??_ ;_ @_ ">
                  <c:v>35</c:v>
                </c:pt>
                <c:pt idx="84" formatCode="_ * #,##0.0_ ;_ * \-#,##0.0_ ;_ * &quot;-&quot;??_ ;_ @_ ">
                  <c:v>35</c:v>
                </c:pt>
                <c:pt idx="85" formatCode="_ * #,##0.0_ ;_ * \-#,##0.0_ ;_ * &quot;-&quot;??_ ;_ @_ ">
                  <c:v>34.9</c:v>
                </c:pt>
                <c:pt idx="86" formatCode="_ * #,##0.0_ ;_ * \-#,##0.0_ ;_ * &quot;-&quot;??_ ;_ @_ ">
                  <c:v>34.700000000000003</c:v>
                </c:pt>
                <c:pt idx="87" formatCode="_ * #,##0.0_ ;_ * \-#,##0.0_ ;_ * &quot;-&quot;??_ ;_ @_ ">
                  <c:v>34.9</c:v>
                </c:pt>
                <c:pt idx="88" formatCode="_ * #,##0.0_ ;_ * \-#,##0.0_ ;_ * &quot;-&quot;??_ ;_ @_ ">
                  <c:v>35</c:v>
                </c:pt>
                <c:pt idx="89" formatCode="_ * #,##0.0_ ;_ * \-#,##0.0_ ;_ * &quot;-&quot;??_ ;_ @_ ">
                  <c:v>35</c:v>
                </c:pt>
                <c:pt idx="90" formatCode="_ * #,##0.0_ ;_ * \-#,##0.0_ ;_ * &quot;-&quot;??_ ;_ @_ ">
                  <c:v>34.6</c:v>
                </c:pt>
                <c:pt idx="91" formatCode="_ * #,##0.0_ ;_ * \-#,##0.0_ ;_ * &quot;-&quot;??_ ;_ @_ ">
                  <c:v>34.700000000000003</c:v>
                </c:pt>
                <c:pt idx="92" formatCode="_ * #,##0.0_ ;_ * \-#,##0.0_ ;_ * &quot;-&quot;??_ ;_ @_ ">
                  <c:v>35.200000000000003</c:v>
                </c:pt>
                <c:pt idx="93" formatCode="_ * #,##0.0_ ;_ * \-#,##0.0_ ;_ * &quot;-&quot;??_ ;_ @_ ">
                  <c:v>35.5</c:v>
                </c:pt>
                <c:pt idx="94" formatCode="_ * #,##0.0_ ;_ * \-#,##0.0_ ;_ * &quot;-&quot;??_ ;_ @_ ">
                  <c:v>35.5</c:v>
                </c:pt>
                <c:pt idx="95" formatCode="_ * #,##0.0_ ;_ * \-#,##0.0_ ;_ * &quot;-&quot;??_ ;_ @_ ">
                  <c:v>35.700000000000003</c:v>
                </c:pt>
                <c:pt idx="96" formatCode="_ * #,##0.0_ ;_ * \-#,##0.0_ ;_ * &quot;-&quot;??_ ;_ @_ ">
                  <c:v>35.799999999999997</c:v>
                </c:pt>
                <c:pt idx="97" formatCode="_ * #,##0.0_ ;_ * \-#,##0.0_ ;_ * &quot;-&quot;??_ ;_ @_ ">
                  <c:v>35.9</c:v>
                </c:pt>
                <c:pt idx="98" formatCode="_ * #,##0.0_ ;_ * \-#,##0.0_ ;_ * &quot;-&quot;??_ ;_ @_ ">
                  <c:v>35.9</c:v>
                </c:pt>
                <c:pt idx="99" formatCode="_ * #,##0.0_ ;_ * \-#,##0.0_ ;_ * &quot;-&quot;??_ ;_ @_ ">
                  <c:v>36</c:v>
                </c:pt>
                <c:pt idx="100" formatCode="_ * #,##0.0_ ;_ * \-#,##0.0_ ;_ * &quot;-&quot;??_ ;_ @_ ">
                  <c:v>36.1</c:v>
                </c:pt>
                <c:pt idx="101" formatCode="_ * #,##0.0_ ;_ * \-#,##0.0_ ;_ * &quot;-&quot;??_ ;_ @_ ">
                  <c:v>35.5</c:v>
                </c:pt>
                <c:pt idx="102" formatCode="_ * #,##0.0_ ;_ * \-#,##0.0_ ;_ * &quot;-&quot;??_ ;_ @_ ">
                  <c:v>35.799999999999997</c:v>
                </c:pt>
                <c:pt idx="103" formatCode="_ * #,##0.0_ ;_ * \-#,##0.0_ ;_ * &quot;-&quot;??_ ;_ @_ ">
                  <c:v>35.5</c:v>
                </c:pt>
                <c:pt idx="104" formatCode="_ * #,##0.0_ ;_ * \-#,##0.0_ ;_ * &quot;-&quot;??_ ;_ @_ ">
                  <c:v>35.200000000000003</c:v>
                </c:pt>
                <c:pt idx="105" formatCode="_ * #,##0.0_ ;_ * \-#,##0.0_ ;_ * &quot;-&quot;??_ ;_ @_ ">
                  <c:v>34.9</c:v>
                </c:pt>
                <c:pt idx="106" formatCode="_ * #,##0.0_ ;_ * \-#,##0.0_ ;_ * &quot;-&quot;??_ ;_ @_ ">
                  <c:v>34.700000000000003</c:v>
                </c:pt>
                <c:pt idx="107" formatCode="_ * #,##0.0_ ;_ * \-#,##0.0_ ;_ * &quot;-&quot;??_ ;_ @_ ">
                  <c:v>34.5</c:v>
                </c:pt>
                <c:pt idx="108" formatCode="_ * #,##0.0_ ;_ * \-#,##0.0_ ;_ * &quot;-&quot;??_ ;_ @_ ">
                  <c:v>34.1</c:v>
                </c:pt>
                <c:pt idx="109" formatCode="_ * #,##0.0_ ;_ * \-#,##0.0_ ;_ * &quot;-&quot;??_ ;_ @_ ">
                  <c:v>34.9</c:v>
                </c:pt>
                <c:pt idx="110" formatCode="_ * #,##0.0_ ;_ * \-#,##0.0_ ;_ * &quot;-&quot;??_ ;_ @_ ">
                  <c:v>34.700000000000003</c:v>
                </c:pt>
                <c:pt idx="111" formatCode="_ * #,##0.0_ ;_ * \-#,##0.0_ ;_ * &quot;-&quot;??_ ;_ @_ ">
                  <c:v>35</c:v>
                </c:pt>
                <c:pt idx="112" formatCode="_ * #,##0.0_ ;_ * \-#,##0.0_ ;_ * &quot;-&quot;??_ ;_ @_ ">
                  <c:v>35.200000000000003</c:v>
                </c:pt>
                <c:pt idx="113" formatCode="_ * #,##0.0_ ;_ * \-#,##0.0_ ;_ * &quot;-&quot;??_ ;_ @_ ">
                  <c:v>35.5</c:v>
                </c:pt>
                <c:pt idx="114" formatCode="_ * #,##0.0_ ;_ * \-#,##0.0_ ;_ * &quot;-&quot;??_ ;_ @_ ">
                  <c:v>35</c:v>
                </c:pt>
                <c:pt idx="115" formatCode="_ * #,##0.0_ ;_ * \-#,##0.0_ ;_ * &quot;-&quot;??_ ;_ @_ ">
                  <c:v>35.1</c:v>
                </c:pt>
                <c:pt idx="116" formatCode="_ * #,##0.0_ ;_ * \-#,##0.0_ ;_ * &quot;-&quot;??_ ;_ @_ ">
                  <c:v>35.6</c:v>
                </c:pt>
                <c:pt idx="117" formatCode="_ * #,##0.0_ ;_ * \-#,##0.0_ ;_ * &quot;-&quot;??_ ;_ @_ ">
                  <c:v>35</c:v>
                </c:pt>
                <c:pt idx="118" formatCode="_ * #,##0.0_ ;_ * \-#,##0.0_ ;_ * &quot;-&quot;??_ ;_ @_ ">
                  <c:v>35</c:v>
                </c:pt>
                <c:pt idx="119" formatCode="_ * #,##0.0_ ;_ * \-#,##0.0_ ;_ * &quot;-&quot;??_ ;_ @_ ">
                  <c:v>35.700000000000003</c:v>
                </c:pt>
                <c:pt idx="120" formatCode="_ * #,##0.0_ ;_ * \-#,##0.0_ ;_ * &quot;-&quot;??_ ;_ @_ ">
                  <c:v>36.4</c:v>
                </c:pt>
                <c:pt idx="121" formatCode="_ * #,##0.0_ ;_ * \-#,##0.0_ ;_ * &quot;-&quot;??_ ;_ @_ ">
                  <c:v>36.1</c:v>
                </c:pt>
                <c:pt idx="122" formatCode="_ * #,##0.0_ ;_ * \-#,##0.0_ ;_ * &quot;-&quot;??_ ;_ @_ ">
                  <c:v>36.4</c:v>
                </c:pt>
                <c:pt idx="123" formatCode="_ * #,##0.0_ ;_ * \-#,##0.0_ ;_ * &quot;-&quot;??_ ;_ @_ ">
                  <c:v>36.5</c:v>
                </c:pt>
                <c:pt idx="124" formatCode="_ * #,##0.0_ ;_ * \-#,##0.0_ ;_ * &quot;-&quot;??_ ;_ @_ ">
                  <c:v>36.700000000000003</c:v>
                </c:pt>
                <c:pt idx="125" formatCode="_ * #,##0.0_ ;_ * \-#,##0.0_ ;_ * &quot;-&quot;??_ ;_ @_ ">
                  <c:v>36.700000000000003</c:v>
                </c:pt>
                <c:pt idx="126" formatCode="_ * #,##0.0_ ;_ * \-#,##0.0_ ;_ * &quot;-&quot;??_ ;_ @_ ">
                  <c:v>36.6</c:v>
                </c:pt>
                <c:pt idx="127" formatCode="_ * #,##0.0_ ;_ * \-#,##0.0_ ;_ * &quot;-&quot;??_ ;_ @_ ">
                  <c:v>36.4</c:v>
                </c:pt>
                <c:pt idx="128" formatCode="_ * #,##0.0_ ;_ * \-#,##0.0_ ;_ * &quot;-&quot;??_ ;_ @_ ">
                  <c:v>36.1</c:v>
                </c:pt>
                <c:pt idx="129" formatCode="_ * #,##0.0_ ;_ * \-#,##0.0_ ;_ * &quot;-&quot;??_ ;_ @_ ">
                  <c:v>36.6</c:v>
                </c:pt>
                <c:pt idx="130" formatCode="_ * #,##0.0_ ;_ * \-#,##0.0_ ;_ * &quot;-&quot;??_ ;_ @_ ">
                  <c:v>36.799999999999997</c:v>
                </c:pt>
                <c:pt idx="131" formatCode="_ * #,##0.0_ ;_ * \-#,##0.0_ ;_ * &quot;-&quot;??_ ;_ @_ ">
                  <c:v>36.5</c:v>
                </c:pt>
                <c:pt idx="132" formatCode="_ * #,##0.0_ ;_ * \-#,##0.0_ ;_ * &quot;-&quot;??_ ;_ @_ ">
                  <c:v>36.4</c:v>
                </c:pt>
                <c:pt idx="133" formatCode="_ * #,##0.0_ ;_ * \-#,##0.0_ ;_ * &quot;-&quot;??_ ;_ @_ ">
                  <c:v>36.5</c:v>
                </c:pt>
                <c:pt idx="134" formatCode="_ * #,##0.0_ ;_ * \-#,##0.0_ ;_ * &quot;-&quot;??_ ;_ @_ ">
                  <c:v>36.200000000000003</c:v>
                </c:pt>
                <c:pt idx="135" formatCode="_ * #,##0.0_ ;_ * \-#,##0.0_ ;_ * &quot;-&quot;??_ ;_ @_ ">
                  <c:v>36</c:v>
                </c:pt>
                <c:pt idx="136" formatCode="_ * #,##0.0_ ;_ * \-#,##0.0_ ;_ * &quot;-&quot;??_ ;_ @_ ">
                  <c:v>36.200000000000003</c:v>
                </c:pt>
                <c:pt idx="137" formatCode="_ * #,##0.0_ ;_ * \-#,##0.0_ ;_ * &quot;-&quot;??_ ;_ @_ ">
                  <c:v>36.5</c:v>
                </c:pt>
                <c:pt idx="138" formatCode="_ * #,##0.0_ ;_ * \-#,##0.0_ ;_ * &quot;-&quot;??_ ;_ @_ ">
                  <c:v>36</c:v>
                </c:pt>
                <c:pt idx="139" formatCode="_ * #,##0.0_ ;_ * \-#,##0.0_ ;_ * &quot;-&quot;??_ ;_ @_ ">
                  <c:v>36.5</c:v>
                </c:pt>
                <c:pt idx="140" formatCode="_ * #,##0.0_ ;_ * \-#,##0.0_ ;_ * &quot;-&quot;??_ ;_ @_ ">
                  <c:v>36.200000000000003</c:v>
                </c:pt>
                <c:pt idx="141" formatCode="_ * #,##0.0_ ;_ * \-#,##0.0_ ;_ * &quot;-&quot;??_ ;_ @_ ">
                  <c:v>36.4</c:v>
                </c:pt>
                <c:pt idx="142" formatCode="_ * #,##0.0_ ;_ * \-#,##0.0_ ;_ * &quot;-&quot;??_ ;_ @_ ">
                  <c:v>36.6</c:v>
                </c:pt>
                <c:pt idx="143" formatCode="_ * #,##0.0_ ;_ * \-#,##0.0_ ;_ * &quot;-&quot;??_ ;_ @_ ">
                  <c:v>36</c:v>
                </c:pt>
                <c:pt idx="144" formatCode="_ * #,##0.0_ ;_ * \-#,##0.0_ ;_ * &quot;-&quot;??_ ;_ @_ ">
                  <c:v>36.4</c:v>
                </c:pt>
                <c:pt idx="145" formatCode="_ * #,##0.0_ ;_ * \-#,##0.0_ ;_ * &quot;-&quot;??_ ;_ @_ ">
                  <c:v>36.700000000000003</c:v>
                </c:pt>
                <c:pt idx="146" formatCode="_ * #,##0.0_ ;_ * \-#,##0.0_ ;_ * &quot;-&quot;??_ ;_ @_ ">
                  <c:v>36.799999999999997</c:v>
                </c:pt>
                <c:pt idx="147" formatCode="_ * #,##0.0_ ;_ * \-#,##0.0_ ;_ * &quot;-&quot;??_ ;_ @_ ">
                  <c:v>36.9</c:v>
                </c:pt>
                <c:pt idx="148" formatCode="_ * #,##0.0_ ;_ * \-#,##0.0_ ;_ * &quot;-&quot;??_ ;_ @_ ">
                  <c:v>36.299999999999997</c:v>
                </c:pt>
                <c:pt idx="149" formatCode="_ * #,##0.0_ ;_ * \-#,##0.0_ ;_ * &quot;-&quot;??_ ;_ @_ ">
                  <c:v>36.5</c:v>
                </c:pt>
                <c:pt idx="150" formatCode="_ * #,##0.0_ ;_ * \-#,##0.0_ ;_ * &quot;-&quot;??_ ;_ @_ ">
                  <c:v>36.5</c:v>
                </c:pt>
                <c:pt idx="151" formatCode="_ * #,##0.0_ ;_ * \-#,##0.0_ ;_ * &quot;-&quot;??_ ;_ @_ ">
                  <c:v>36.799999999999997</c:v>
                </c:pt>
                <c:pt idx="152" formatCode="_ * #,##0.0_ ;_ * \-#,##0.0_ ;_ * &quot;-&quot;??_ ;_ @_ ">
                  <c:v>36.700000000000003</c:v>
                </c:pt>
                <c:pt idx="153" formatCode="_ * #,##0.0_ ;_ * \-#,##0.0_ ;_ * &quot;-&quot;??_ ;_ @_ ">
                  <c:v>36.1</c:v>
                </c:pt>
                <c:pt idx="154" formatCode="_ * #,##0.0_ ;_ * \-#,##0.0_ ;_ * &quot;-&quot;??_ ;_ @_ ">
                  <c:v>36.700000000000003</c:v>
                </c:pt>
                <c:pt idx="155" formatCode="_ * #,##0.0_ ;_ * \-#,##0.0_ ;_ * &quot;-&quot;??_ ;_ @_ ">
                  <c:v>36.299999999999997</c:v>
                </c:pt>
                <c:pt idx="156" formatCode="_ * #,##0.0_ ;_ * \-#,##0.0_ ;_ * &quot;-&quot;??_ ;_ @_ ">
                  <c:v>36</c:v>
                </c:pt>
                <c:pt idx="157" formatCode="_ * #,##0.0_ ;_ * \-#,##0.0_ ;_ * &quot;-&quot;??_ ;_ @_ ">
                  <c:v>36.4</c:v>
                </c:pt>
                <c:pt idx="158" formatCode="_ * #,##0.0_ ;_ * \-#,##0.0_ ;_ * &quot;-&quot;??_ ;_ @_ ">
                  <c:v>36.200000000000003</c:v>
                </c:pt>
                <c:pt idx="159" formatCode="_ * #,##0.0_ ;_ * \-#,##0.0_ ;_ * &quot;-&quot;??_ ;_ @_ ">
                  <c:v>35.700000000000003</c:v>
                </c:pt>
                <c:pt idx="160" formatCode="_ * #,##0.0_ ;_ * \-#,##0.0_ ;_ * &quot;-&quot;??_ ;_ @_ ">
                  <c:v>36</c:v>
                </c:pt>
                <c:pt idx="161" formatCode="_ * #,##0.0_ ;_ * \-#,##0.0_ ;_ * &quot;-&quot;??_ ;_ @_ ">
                  <c:v>36</c:v>
                </c:pt>
                <c:pt idx="162" formatCode="_ * #,##0.0_ ;_ * \-#,##0.0_ ;_ * &quot;-&quot;??_ ;_ @_ ">
                  <c:v>35.799999999999997</c:v>
                </c:pt>
                <c:pt idx="163" formatCode="_ * #,##0.0_ ;_ * \-#,##0.0_ ;_ * &quot;-&quot;??_ ;_ @_ ">
                  <c:v>36</c:v>
                </c:pt>
                <c:pt idx="164" formatCode="_ * #,##0.0_ ;_ * \-#,##0.0_ ;_ * &quot;-&quot;??_ ;_ @_ ">
                  <c:v>36.4</c:v>
                </c:pt>
                <c:pt idx="165" formatCode="_ * #,##0.0_ ;_ * \-#,##0.0_ ;_ * &quot;-&quot;??_ ;_ @_ ">
                  <c:v>35.4</c:v>
                </c:pt>
                <c:pt idx="166" formatCode="_ * #,##0.0_ ;_ * \-#,##0.0_ ;_ * &quot;-&quot;??_ ;_ @_ ">
                  <c:v>35.4</c:v>
                </c:pt>
                <c:pt idx="167" formatCode="_ * #,##0.0_ ;_ * \-#,##0.0_ ;_ * &quot;-&quot;??_ ;_ @_ ">
                  <c:v>35.799999999999997</c:v>
                </c:pt>
                <c:pt idx="168" formatCode="_ * #,##0.0_ ;_ * \-#,##0.0_ ;_ * &quot;-&quot;??_ ;_ @_ ">
                  <c:v>34.5</c:v>
                </c:pt>
                <c:pt idx="169" formatCode="_ * #,##0.0_ ;_ * \-#,##0.0_ ;_ * &quot;-&quot;??_ ;_ @_ ">
                  <c:v>34.5</c:v>
                </c:pt>
                <c:pt idx="170" formatCode="_ * #,##0.0_ ;_ * \-#,##0.0_ ;_ * &quot;-&quot;??_ ;_ @_ ">
                  <c:v>34.700000000000003</c:v>
                </c:pt>
                <c:pt idx="171" formatCode="_ * #,##0.0_ ;_ * \-#,##0.0_ ;_ * &quot;-&quot;??_ ;_ @_ ">
                  <c:v>35</c:v>
                </c:pt>
                <c:pt idx="172" formatCode="_ * #,##0.0_ ;_ * \-#,##0.0_ ;_ * &quot;-&quot;??_ ;_ @_ ">
                  <c:v>34.5</c:v>
                </c:pt>
                <c:pt idx="173" formatCode="_ * #,##0.0_ ;_ * \-#,##0.0_ ;_ * &quot;-&quot;??_ ;_ @_ ">
                  <c:v>35.5</c:v>
                </c:pt>
                <c:pt idx="174" formatCode="_ * #,##0.0_ ;_ * \-#,##0.0_ ;_ * &quot;-&quot;??_ ;_ @_ ">
                  <c:v>34.700000000000003</c:v>
                </c:pt>
                <c:pt idx="175" formatCode="_ * #,##0.0_ ;_ * \-#,##0.0_ ;_ * &quot;-&quot;??_ ;_ @_ ">
                  <c:v>35</c:v>
                </c:pt>
                <c:pt idx="176" formatCode="_ * #,##0.0_ ;_ * \-#,##0.0_ ;_ * &quot;-&quot;??_ ;_ @_ ">
                  <c:v>34.6</c:v>
                </c:pt>
                <c:pt idx="177" formatCode="_ * #,##0.0_ ;_ * \-#,##0.0_ ;_ * &quot;-&quot;??_ ;_ @_ ">
                  <c:v>34.6</c:v>
                </c:pt>
                <c:pt idx="178" formatCode="_ * #,##0.0_ ;_ * \-#,##0.0_ ;_ * &quot;-&quot;??_ ;_ @_ ">
                  <c:v>35.299999999999997</c:v>
                </c:pt>
                <c:pt idx="179" formatCode="_ * #,##0.0_ ;_ * \-#,##0.0_ ;_ * &quot;-&quot;??_ ;_ @_ ">
                  <c:v>34.799999999999997</c:v>
                </c:pt>
                <c:pt idx="180" formatCode="_ * #,##0.0_ ;_ * \-#,##0.0_ ;_ * &quot;-&quot;??_ ;_ @_ ">
                  <c:v>35</c:v>
                </c:pt>
                <c:pt idx="181" formatCode="_ * #,##0.0_ ;_ * \-#,##0.0_ ;_ * &quot;-&quot;??_ ;_ @_ ">
                  <c:v>35</c:v>
                </c:pt>
                <c:pt idx="182" formatCode="_ * #,##0.0_ ;_ * \-#,##0.0_ ;_ * &quot;-&quot;??_ ;_ @_ ">
                  <c:v>35.4</c:v>
                </c:pt>
                <c:pt idx="183" formatCode="_ * #,##0.0_ ;_ * \-#,##0.0_ ;_ * &quot;-&quot;??_ ;_ @_ ">
                  <c:v>35</c:v>
                </c:pt>
                <c:pt idx="184" formatCode="_ * #,##0.0_ ;_ * \-#,##0.0_ ;_ * &quot;-&quot;??_ ;_ @_ ">
                  <c:v>35.4</c:v>
                </c:pt>
                <c:pt idx="185" formatCode="_ * #,##0.0_ ;_ * \-#,##0.0_ ;_ * &quot;-&quot;??_ ;_ @_ ">
                  <c:v>35.4</c:v>
                </c:pt>
                <c:pt idx="186" formatCode="_ * #,##0.0_ ;_ * \-#,##0.0_ ;_ * &quot;-&quot;??_ ;_ @_ ">
                  <c:v>35.200000000000003</c:v>
                </c:pt>
                <c:pt idx="187" formatCode="_ * #,##0.0_ ;_ * \-#,##0.0_ ;_ * &quot;-&quot;??_ ;_ @_ ">
                  <c:v>35.299999999999997</c:v>
                </c:pt>
                <c:pt idx="188" formatCode="_ * #,##0.0_ ;_ * \-#,##0.0_ ;_ * &quot;-&quot;??_ ;_ @_ ">
                  <c:v>34.799999999999997</c:v>
                </c:pt>
                <c:pt idx="189" formatCode="_ * #,##0.0_ ;_ * \-#,##0.0_ ;_ * &quot;-&quot;??_ ;_ @_ ">
                  <c:v>34.6</c:v>
                </c:pt>
                <c:pt idx="190" formatCode="_ * #,##0.0_ ;_ * \-#,##0.0_ ;_ * &quot;-&quot;??_ ;_ @_ ">
                  <c:v>34.5</c:v>
                </c:pt>
                <c:pt idx="191" formatCode="_ * #,##0.0_ ;_ * \-#,##0.0_ ;_ * &quot;-&quot;??_ ;_ @_ ">
                  <c:v>34.5</c:v>
                </c:pt>
                <c:pt idx="192" formatCode="_ * #,##0.0_ ;_ * \-#,##0.0_ ;_ * &quot;-&quot;??_ ;_ @_ ">
                  <c:v>33.5</c:v>
                </c:pt>
                <c:pt idx="193" formatCode="_ * #,##0.0_ ;_ * \-#,##0.0_ ;_ * &quot;-&quot;??_ ;_ @_ ">
                  <c:v>34.5</c:v>
                </c:pt>
                <c:pt idx="194" formatCode="_ * #,##0.0_ ;_ * \-#,##0.0_ ;_ * &quot;-&quot;??_ ;_ @_ ">
                  <c:v>34</c:v>
                </c:pt>
                <c:pt idx="195" formatCode="_ * #,##0.0_ ;_ * \-#,##0.0_ ;_ * &quot;-&quot;??_ ;_ @_ ">
                  <c:v>34</c:v>
                </c:pt>
                <c:pt idx="196" formatCode="_ * #,##0.0_ ;_ * \-#,##0.0_ ;_ * &quot;-&quot;??_ ;_ @_ ">
                  <c:v>33.799999999999997</c:v>
                </c:pt>
                <c:pt idx="197" formatCode="_ * #,##0.0_ ;_ * \-#,##0.0_ ;_ * &quot;-&quot;??_ ;_ @_ ">
                  <c:v>34</c:v>
                </c:pt>
                <c:pt idx="198" formatCode="_ * #,##0.0_ ;_ * \-#,##0.0_ ;_ * &quot;-&quot;??_ ;_ @_ ">
                  <c:v>34.200000000000003</c:v>
                </c:pt>
                <c:pt idx="199" formatCode="_ * #,##0.0_ ;_ * \-#,##0.0_ ;_ * &quot;-&quot;??_ ;_ @_ ">
                  <c:v>33.9</c:v>
                </c:pt>
                <c:pt idx="200" formatCode="_ * #,##0.0_ ;_ * \-#,##0.0_ ;_ * &quot;-&quot;??_ ;_ @_ ">
                  <c:v>32.700000000000003</c:v>
                </c:pt>
                <c:pt idx="201" formatCode="_ * #,##0.0_ ;_ * \-#,##0.0_ ;_ * &quot;-&quot;??_ ;_ @_ ">
                  <c:v>33</c:v>
                </c:pt>
                <c:pt idx="202" formatCode="_ * #,##0.0_ ;_ * \-#,##0.0_ ;_ * &quot;-&quot;??_ ;_ @_ ">
                  <c:v>33</c:v>
                </c:pt>
                <c:pt idx="203" formatCode="_ * #,##0.0_ ;_ * \-#,##0.0_ ;_ * &quot;-&quot;??_ ;_ @_ ">
                  <c:v>33</c:v>
                </c:pt>
                <c:pt idx="204" formatCode="_ * #,##0.0_ ;_ * \-#,##0.0_ ;_ * &quot;-&quot;??_ ;_ @_ ">
                  <c:v>33.299999999999997</c:v>
                </c:pt>
                <c:pt idx="205" formatCode="_ * #,##0.0_ ;_ * \-#,##0.0_ ;_ * &quot;-&quot;??_ ;_ @_ ">
                  <c:v>33.200000000000003</c:v>
                </c:pt>
                <c:pt idx="206" formatCode="_ * #,##0.0_ ;_ * \-#,##0.0_ ;_ * &quot;-&quot;??_ ;_ @_ ">
                  <c:v>33.5</c:v>
                </c:pt>
                <c:pt idx="207" formatCode="_ * #,##0.0_ ;_ * \-#,##0.0_ ;_ * &quot;-&quot;??_ ;_ @_ ">
                  <c:v>33.1</c:v>
                </c:pt>
                <c:pt idx="208" formatCode="_ * #,##0.0_ ;_ * \-#,##0.0_ ;_ * &quot;-&quot;??_ ;_ @_ ">
                  <c:v>33.4</c:v>
                </c:pt>
                <c:pt idx="209" formatCode="_ * #,##0.0_ ;_ * \-#,##0.0_ ;_ * &quot;-&quot;??_ ;_ @_ ">
                  <c:v>33.299999999999997</c:v>
                </c:pt>
                <c:pt idx="210" formatCode="_ * #,##0.0_ ;_ * \-#,##0.0_ ;_ * &quot;-&quot;??_ ;_ @_ ">
                  <c:v>33</c:v>
                </c:pt>
                <c:pt idx="211" formatCode="_ * #,##0.0_ ;_ * \-#,##0.0_ ;_ * &quot;-&quot;??_ ;_ @_ ">
                  <c:v>33.9</c:v>
                </c:pt>
                <c:pt idx="212" formatCode="_ * #,##0.0_ ;_ * \-#,##0.0_ ;_ * &quot;-&quot;??_ ;_ @_ ">
                  <c:v>34.200000000000003</c:v>
                </c:pt>
                <c:pt idx="213" formatCode="_ * #,##0.0_ ;_ * \-#,##0.0_ ;_ * &quot;-&quot;??_ ;_ @_ ">
                  <c:v>34</c:v>
                </c:pt>
                <c:pt idx="214" formatCode="_ * #,##0.0_ ;_ * \-#,##0.0_ ;_ * &quot;-&quot;??_ ;_ @_ ">
                  <c:v>34.200000000000003</c:v>
                </c:pt>
                <c:pt idx="215" formatCode="_ * #,##0.0_ ;_ * \-#,##0.0_ ;_ * &quot;-&quot;??_ ;_ @_ ">
                  <c:v>33.799999999999997</c:v>
                </c:pt>
                <c:pt idx="216" formatCode="_ * #,##0.0_ ;_ * \-#,##0.0_ ;_ * &quot;-&quot;??_ ;_ @_ ">
                  <c:v>33.9</c:v>
                </c:pt>
                <c:pt idx="217" formatCode="_ * #,##0.0_ ;_ * \-#,##0.0_ ;_ * &quot;-&quot;??_ ;_ @_ ">
                  <c:v>34</c:v>
                </c:pt>
                <c:pt idx="218" formatCode="_ * #,##0.0_ ;_ * \-#,##0.0_ ;_ * &quot;-&quot;??_ ;_ @_ ">
                  <c:v>33.799999999999997</c:v>
                </c:pt>
                <c:pt idx="219" formatCode="_ * #,##0.0_ ;_ * \-#,##0.0_ ;_ * &quot;-&quot;??_ ;_ @_ ">
                  <c:v>33.299999999999997</c:v>
                </c:pt>
                <c:pt idx="220" formatCode="_ * #,##0.0_ ;_ * \-#,##0.0_ ;_ * &quot;-&quot;??_ ;_ @_ ">
                  <c:v>33.799999999999997</c:v>
                </c:pt>
                <c:pt idx="221" formatCode="_ * #,##0.0_ ;_ * \-#,##0.0_ ;_ * &quot;-&quot;??_ ;_ @_ ">
                  <c:v>33.799999999999997</c:v>
                </c:pt>
                <c:pt idx="222" formatCode="_ * #,##0.0_ ;_ * \-#,##0.0_ ;_ * &quot;-&quot;??_ ;_ @_ ">
                  <c:v>33.799999999999997</c:v>
                </c:pt>
                <c:pt idx="223" formatCode="_ * #,##0.0_ ;_ * \-#,##0.0_ ;_ * &quot;-&quot;??_ ;_ @_ ">
                  <c:v>33.799999999999997</c:v>
                </c:pt>
                <c:pt idx="224" formatCode="_ * #,##0.0_ ;_ * \-#,##0.0_ ;_ * &quot;-&quot;??_ ;_ @_ ">
                  <c:v>34</c:v>
                </c:pt>
                <c:pt idx="225" formatCode="_ * #,##0.0_ ;_ * \-#,##0.0_ ;_ * &quot;-&quot;??_ ;_ @_ ">
                  <c:v>34.1</c:v>
                </c:pt>
                <c:pt idx="226" formatCode="_ * #,##0.0_ ;_ * \-#,##0.0_ ;_ * &quot;-&quot;??_ ;_ @_ ">
                  <c:v>34</c:v>
                </c:pt>
                <c:pt idx="227" formatCode="_ * #,##0.0_ ;_ * \-#,##0.0_ ;_ * &quot;-&quot;??_ ;_ @_ ">
                  <c:v>33.799999999999997</c:v>
                </c:pt>
                <c:pt idx="228" formatCode="_ * #,##0.0_ ;_ * \-#,##0.0_ ;_ * &quot;-&quot;??_ ;_ @_ ">
                  <c:v>34.200000000000003</c:v>
                </c:pt>
                <c:pt idx="229" formatCode="_ * #,##0.0_ ;_ * \-#,##0.0_ ;_ * &quot;-&quot;??_ ;_ @_ ">
                  <c:v>34.200000000000003</c:v>
                </c:pt>
                <c:pt idx="230" formatCode="_ * #,##0.0_ ;_ * \-#,##0.0_ ;_ * &quot;-&quot;??_ ;_ @_ ">
                  <c:v>34.6</c:v>
                </c:pt>
                <c:pt idx="231" formatCode="_ * #,##0.0_ ;_ * \-#,##0.0_ ;_ * &quot;-&quot;??_ ;_ @_ ">
                  <c:v>34.700000000000003</c:v>
                </c:pt>
                <c:pt idx="232" formatCode="_ * #,##0.0_ ;_ * \-#,##0.0_ ;_ * &quot;-&quot;??_ ;_ @_ ">
                  <c:v>34.799999999999997</c:v>
                </c:pt>
                <c:pt idx="233" formatCode="_ * #,##0.0_ ;_ * \-#,##0.0_ ;_ * &quot;-&quot;??_ ;_ @_ ">
                  <c:v>34</c:v>
                </c:pt>
                <c:pt idx="234" formatCode="_ * #,##0.0_ ;_ * \-#,##0.0_ ;_ * &quot;-&quot;??_ ;_ @_ ">
                  <c:v>34.4</c:v>
                </c:pt>
                <c:pt idx="235" formatCode="_ * #,##0.0_ ;_ * \-#,##0.0_ ;_ * &quot;-&quot;??_ ;_ @_ ">
                  <c:v>34.1</c:v>
                </c:pt>
                <c:pt idx="236" formatCode="_ * #,##0.0_ ;_ * \-#,##0.0_ ;_ * &quot;-&quot;??_ ;_ @_ ">
                  <c:v>34.1</c:v>
                </c:pt>
                <c:pt idx="237" formatCode="_ * #,##0.0_ ;_ * \-#,##0.0_ ;_ * &quot;-&quot;??_ ;_ @_ ">
                  <c:v>34.5</c:v>
                </c:pt>
                <c:pt idx="238" formatCode="_ * #,##0.0_ ;_ * \-#,##0.0_ ;_ * &quot;-&quot;??_ ;_ @_ ">
                  <c:v>34.4</c:v>
                </c:pt>
                <c:pt idx="239" formatCode="_ * #,##0.0_ ;_ * \-#,##0.0_ ;_ * &quot;-&quot;??_ ;_ @_ ">
                  <c:v>34.299999999999997</c:v>
                </c:pt>
                <c:pt idx="240" formatCode="_ * #,##0.0_ ;_ * \-#,##0.0_ ;_ * &quot;-&quot;??_ ;_ @_ ">
                  <c:v>33.799999999999997</c:v>
                </c:pt>
                <c:pt idx="241" formatCode="_ * #,##0.0_ ;_ * \-#,##0.0_ ;_ * &quot;-&quot;??_ ;_ @_ ">
                  <c:v>33.700000000000003</c:v>
                </c:pt>
                <c:pt idx="242" formatCode="_ * #,##0.0_ ;_ * \-#,##0.0_ ;_ * &quot;-&quot;??_ ;_ @_ ">
                  <c:v>33.799999999999997</c:v>
                </c:pt>
                <c:pt idx="243" formatCode="_ * #,##0.0_ ;_ * \-#,##0.0_ ;_ * &quot;-&quot;??_ ;_ @_ ">
                  <c:v>34.4</c:v>
                </c:pt>
                <c:pt idx="244" formatCode="_ * #,##0.0_ ;_ * \-#,##0.0_ ;_ * &quot;-&quot;??_ ;_ @_ ">
                  <c:v>34.299999999999997</c:v>
                </c:pt>
                <c:pt idx="245" formatCode="_ * #,##0.0_ ;_ * \-#,##0.0_ ;_ * &quot;-&quot;??_ ;_ @_ ">
                  <c:v>34.4</c:v>
                </c:pt>
                <c:pt idx="246" formatCode="_ * #,##0.0_ ;_ * \-#,##0.0_ ;_ * &quot;-&quot;??_ ;_ @_ ">
                  <c:v>33.9</c:v>
                </c:pt>
                <c:pt idx="247" formatCode="_ * #,##0.0_ ;_ * \-#,##0.0_ ;_ * &quot;-&quot;??_ ;_ @_ ">
                  <c:v>34.700000000000003</c:v>
                </c:pt>
                <c:pt idx="248" formatCode="_ * #,##0.0_ ;_ * \-#,##0.0_ ;_ * &quot;-&quot;??_ ;_ @_ ">
                  <c:v>33.9</c:v>
                </c:pt>
                <c:pt idx="249" formatCode="_ * #,##0.0_ ;_ * \-#,##0.0_ ;_ * &quot;-&quot;??_ ;_ @_ ">
                  <c:v>34.4</c:v>
                </c:pt>
                <c:pt idx="250" formatCode="_ * #,##0.0_ ;_ * \-#,##0.0_ ;_ * &quot;-&quot;??_ ;_ @_ ">
                  <c:v>34</c:v>
                </c:pt>
                <c:pt idx="251" formatCode="_ * #,##0.0_ ;_ * \-#,##0.0_ ;_ * &quot;-&quot;??_ ;_ @_ ">
                  <c:v>34</c:v>
                </c:pt>
                <c:pt idx="252" formatCode="_ * #,##0.0_ ;_ * \-#,##0.0_ ;_ * &quot;-&quot;??_ ;_ @_ ">
                  <c:v>34.6</c:v>
                </c:pt>
                <c:pt idx="253" formatCode="_ * #,##0.0_ ;_ * \-#,##0.0_ ;_ * &quot;-&quot;??_ ;_ @_ ">
                  <c:v>34.200000000000003</c:v>
                </c:pt>
                <c:pt idx="254" formatCode="_ * #,##0.0_ ;_ * \-#,##0.0_ ;_ * &quot;-&quot;??_ ;_ @_ ">
                  <c:v>34.200000000000003</c:v>
                </c:pt>
                <c:pt idx="255" formatCode="_ * #,##0.0_ ;_ * \-#,##0.0_ ;_ * &quot;-&quot;??_ ;_ @_ ">
                  <c:v>34</c:v>
                </c:pt>
                <c:pt idx="256" formatCode="_ * #,##0.0_ ;_ * \-#,##0.0_ ;_ * &quot;-&quot;??_ ;_ @_ ">
                  <c:v>34.1</c:v>
                </c:pt>
                <c:pt idx="257" formatCode="_ * #,##0.0_ ;_ * \-#,##0.0_ ;_ * &quot;-&quot;??_ ;_ @_ ">
                  <c:v>36.9</c:v>
                </c:pt>
                <c:pt idx="258" formatCode="_ * #,##0.0_ ;_ * \-#,##0.0_ ;_ * &quot;-&quot;??_ ;_ @_ ">
                  <c:v>36.9</c:v>
                </c:pt>
                <c:pt idx="259" formatCode="_ * #,##0.0_ ;_ * \-#,##0.0_ ;_ * &quot;-&quot;??_ ;_ @_ ">
                  <c:v>37.6</c:v>
                </c:pt>
                <c:pt idx="260" formatCode="_ * #,##0.0_ ;_ * \-#,##0.0_ ;_ * &quot;-&quot;??_ ;_ @_ ">
                  <c:v>37.6</c:v>
                </c:pt>
                <c:pt idx="261" formatCode="_ * #,##0.0_ ;_ * \-#,##0.0_ ;_ * &quot;-&quot;??_ ;_ @_ ">
                  <c:v>37.700000000000003</c:v>
                </c:pt>
                <c:pt idx="262" formatCode="_ * #,##0.0_ ;_ * \-#,##0.0_ ;_ * &quot;-&quot;??_ ;_ @_ ">
                  <c:v>37.700000000000003</c:v>
                </c:pt>
                <c:pt idx="263" formatCode="_ * #,##0.0_ ;_ * \-#,##0.0_ ;_ * &quot;-&quot;??_ ;_ @_ ">
                  <c:v>37.700000000000003</c:v>
                </c:pt>
                <c:pt idx="264" formatCode="_ * #,##0.0_ ;_ * \-#,##0.0_ ;_ * &quot;-&quot;??_ ;_ @_ ">
                  <c:v>37.6</c:v>
                </c:pt>
                <c:pt idx="265" formatCode="_ * #,##0.0_ ;_ * \-#,##0.0_ ;_ * &quot;-&quot;??_ ;_ @_ ">
                  <c:v>37.700000000000003</c:v>
                </c:pt>
                <c:pt idx="266" formatCode="_ * #,##0.0_ ;_ * \-#,##0.0_ ;_ * &quot;-&quot;??_ ;_ @_ ">
                  <c:v>37.700000000000003</c:v>
                </c:pt>
                <c:pt idx="267" formatCode="_ * #,##0.0_ ;_ * \-#,##0.0_ ;_ * &quot;-&quot;??_ ;_ @_ ">
                  <c:v>37.799999999999997</c:v>
                </c:pt>
                <c:pt idx="268" formatCode="_ * #,##0.0_ ;_ * \-#,##0.0_ ;_ * &quot;-&quot;??_ ;_ @_ ">
                  <c:v>37.799999999999997</c:v>
                </c:pt>
                <c:pt idx="269" formatCode="_ * #,##0.0_ ;_ * \-#,##0.0_ ;_ * &quot;-&quot;??_ ;_ @_ ">
                  <c:v>37.299999999999997</c:v>
                </c:pt>
                <c:pt idx="270" formatCode="_ * #,##0.0_ ;_ * \-#,##0.0_ ;_ * &quot;-&quot;??_ ;_ @_ ">
                  <c:v>37.5</c:v>
                </c:pt>
                <c:pt idx="271" formatCode="_ * #,##0.0_ ;_ * \-#,##0.0_ ;_ * &quot;-&quot;??_ ;_ @_ ">
                  <c:v>37.200000000000003</c:v>
                </c:pt>
                <c:pt idx="272" formatCode="_ * #,##0.0_ ;_ * \-#,##0.0_ ;_ * &quot;-&quot;??_ ;_ @_ ">
                  <c:v>37.200000000000003</c:v>
                </c:pt>
                <c:pt idx="273" formatCode="_ * #,##0.0_ ;_ * \-#,##0.0_ ;_ * &quot;-&quot;??_ ;_ @_ ">
                  <c:v>37.799999999999997</c:v>
                </c:pt>
                <c:pt idx="274" formatCode="_ * #,##0.0_ ;_ * \-#,##0.0_ ;_ * &quot;-&quot;??_ ;_ @_ ">
                  <c:v>37.6</c:v>
                </c:pt>
                <c:pt idx="275" formatCode="_ * #,##0.0_ ;_ * \-#,##0.0_ ;_ * &quot;-&quot;??_ ;_ @_ ">
                  <c:v>37.4</c:v>
                </c:pt>
                <c:pt idx="276" formatCode="_ * #,##0.0_ ;_ * \-#,##0.0_ ;_ * &quot;-&quot;??_ ;_ @_ ">
                  <c:v>37.5</c:v>
                </c:pt>
                <c:pt idx="277" formatCode="_ * #,##0.0_ ;_ * \-#,##0.0_ ;_ * &quot;-&quot;??_ ;_ @_ ">
                  <c:v>36.700000000000003</c:v>
                </c:pt>
                <c:pt idx="278" formatCode="_ * #,##0.0_ ;_ * \-#,##0.0_ ;_ * &quot;-&quot;??_ ;_ @_ ">
                  <c:v>37.1</c:v>
                </c:pt>
                <c:pt idx="279" formatCode="_ * #,##0.0_ ;_ * \-#,##0.0_ ;_ * &quot;-&quot;??_ ;_ @_ ">
                  <c:v>36.6</c:v>
                </c:pt>
                <c:pt idx="280" formatCode="_ * #,##0.0_ ;_ * \-#,##0.0_ ;_ * &quot;-&quot;??_ ;_ @_ ">
                  <c:v>36.4</c:v>
                </c:pt>
                <c:pt idx="281" formatCode="_ * #,##0.0_ ;_ * \-#,##0.0_ ;_ * &quot;-&quot;??_ ;_ @_ ">
                  <c:v>36.4</c:v>
                </c:pt>
                <c:pt idx="282" formatCode="_ * #,##0.0_ ;_ * \-#,##0.0_ ;_ * &quot;-&quot;??_ ;_ @_ ">
                  <c:v>36.299999999999997</c:v>
                </c:pt>
                <c:pt idx="283" formatCode="_ * #,##0.0_ ;_ * \-#,##0.0_ ;_ * &quot;-&quot;??_ ;_ @_ ">
                  <c:v>35.1</c:v>
                </c:pt>
                <c:pt idx="284" formatCode="_ * #,##0.0_ ;_ * \-#,##0.0_ ;_ * &quot;-&quot;??_ ;_ @_ ">
                  <c:v>35.5</c:v>
                </c:pt>
                <c:pt idx="285" formatCode="_ * #,##0.0_ ;_ * \-#,##0.0_ ;_ * &quot;-&quot;??_ ;_ @_ ">
                  <c:v>35.1</c:v>
                </c:pt>
                <c:pt idx="286" formatCode="_ * #,##0.0_ ;_ * \-#,##0.0_ ;_ * &quot;-&quot;??_ ;_ @_ ">
                  <c:v>35.299999999999997</c:v>
                </c:pt>
                <c:pt idx="287" formatCode="_ * #,##0.0_ ;_ * \-#,##0.0_ ;_ * &quot;-&quot;??_ ;_ @_ ">
                  <c:v>35.4</c:v>
                </c:pt>
                <c:pt idx="288" formatCode="_ * #,##0.0_ ;_ * \-#,##0.0_ ;_ * &quot;-&quot;??_ ;_ @_ ">
                  <c:v>34.799999999999997</c:v>
                </c:pt>
                <c:pt idx="289" formatCode="_ * #,##0.0_ ;_ * \-#,##0.0_ ;_ * &quot;-&quot;??_ ;_ @_ ">
                  <c:v>34.9</c:v>
                </c:pt>
                <c:pt idx="290" formatCode="_ * #,##0.0_ ;_ * \-#,##0.0_ ;_ * &quot;-&quot;??_ ;_ @_ ">
                  <c:v>35.1</c:v>
                </c:pt>
                <c:pt idx="291" formatCode="_ * #,##0.0_ ;_ * \-#,##0.0_ ;_ * &quot;-&quot;??_ ;_ @_ ">
                  <c:v>35.200000000000003</c:v>
                </c:pt>
                <c:pt idx="292" formatCode="_ * #,##0.0_ ;_ * \-#,##0.0_ ;_ * &quot;-&quot;??_ ;_ @_ ">
                  <c:v>34.799999999999997</c:v>
                </c:pt>
                <c:pt idx="293" formatCode="_ * #,##0.0_ ;_ * \-#,##0.0_ ;_ * &quot;-&quot;??_ ;_ @_ ">
                  <c:v>34.5</c:v>
                </c:pt>
                <c:pt idx="294" formatCode="_ * #,##0.0_ ;_ * \-#,##0.0_ ;_ * &quot;-&quot;??_ ;_ @_ ">
                  <c:v>35.200000000000003</c:v>
                </c:pt>
                <c:pt idx="295" formatCode="_ * #,##0.0_ ;_ * \-#,##0.0_ ;_ * &quot;-&quot;??_ ;_ @_ ">
                  <c:v>35.200000000000003</c:v>
                </c:pt>
                <c:pt idx="296" formatCode="_ * #,##0.0_ ;_ * \-#,##0.0_ ;_ * &quot;-&quot;??_ ;_ @_ ">
                  <c:v>35.1</c:v>
                </c:pt>
                <c:pt idx="297" formatCode="_ * #,##0.0_ ;_ * \-#,##0.0_ ;_ * &quot;-&quot;??_ ;_ @_ ">
                  <c:v>35.200000000000003</c:v>
                </c:pt>
                <c:pt idx="298" formatCode="_ * #,##0.0_ ;_ * \-#,##0.0_ ;_ * &quot;-&quot;??_ ;_ @_ ">
                  <c:v>35.4</c:v>
                </c:pt>
                <c:pt idx="299" formatCode="_ * #,##0.0_ ;_ * \-#,##0.0_ ;_ * &quot;-&quot;??_ ;_ @_ ">
                  <c:v>35.4</c:v>
                </c:pt>
                <c:pt idx="300" formatCode="_ * #,##0.0_ ;_ * \-#,##0.0_ ;_ * &quot;-&quot;??_ ;_ @_ ">
                  <c:v>34.799999999999997</c:v>
                </c:pt>
                <c:pt idx="301" formatCode="_ * #,##0.0_ ;_ * \-#,##0.0_ ;_ * &quot;-&quot;??_ ;_ @_ ">
                  <c:v>34.799999999999997</c:v>
                </c:pt>
                <c:pt idx="302" formatCode="_ * #,##0.0_ ;_ * \-#,##0.0_ ;_ * &quot;-&quot;??_ ;_ @_ ">
                  <c:v>34.6</c:v>
                </c:pt>
                <c:pt idx="303" formatCode="_ * #,##0.0_ ;_ * \-#,##0.0_ ;_ * &quot;-&quot;??_ ;_ @_ ">
                  <c:v>34.6</c:v>
                </c:pt>
                <c:pt idx="304" formatCode="_ * #,##0.0_ ;_ * \-#,##0.0_ ;_ * &quot;-&quot;??_ ;_ @_ ">
                  <c:v>34.6</c:v>
                </c:pt>
                <c:pt idx="305" formatCode="_ * #,##0.0_ ;_ * \-#,##0.0_ ;_ * &quot;-&quot;??_ ;_ @_ ">
                  <c:v>34.5</c:v>
                </c:pt>
                <c:pt idx="306" formatCode="_ * #,##0.0_ ;_ * \-#,##0.0_ ;_ * &quot;-&quot;??_ ;_ @_ ">
                  <c:v>34.5</c:v>
                </c:pt>
                <c:pt idx="307" formatCode="_ * #,##0.0_ ;_ * \-#,##0.0_ ;_ * &quot;-&quot;??_ ;_ @_ ">
                  <c:v>34</c:v>
                </c:pt>
                <c:pt idx="308" formatCode="_ * #,##0.0_ ;_ * \-#,##0.0_ ;_ * &quot;-&quot;??_ ;_ @_ ">
                  <c:v>34.299999999999997</c:v>
                </c:pt>
                <c:pt idx="309" formatCode="_ * #,##0.0_ ;_ * \-#,##0.0_ ;_ * &quot;-&quot;??_ ;_ @_ ">
                  <c:v>34.299999999999997</c:v>
                </c:pt>
                <c:pt idx="310" formatCode="_ * #,##0.0_ ;_ * \-#,##0.0_ ;_ * &quot;-&quot;??_ ;_ @_ ">
                  <c:v>34.5</c:v>
                </c:pt>
                <c:pt idx="311" formatCode="_ * #,##0.0_ ;_ * \-#,##0.0_ ;_ * &quot;-&quot;??_ ;_ @_ ">
                  <c:v>34.4</c:v>
                </c:pt>
                <c:pt idx="312" formatCode="_ * #,##0.0_ ;_ * \-#,##0.0_ ;_ * &quot;-&quot;??_ ;_ @_ ">
                  <c:v>34.4</c:v>
                </c:pt>
                <c:pt idx="313" formatCode="_ * #,##0.0_ ;_ * \-#,##0.0_ ;_ * &quot;-&quot;??_ ;_ @_ ">
                  <c:v>34.4</c:v>
                </c:pt>
                <c:pt idx="314" formatCode="_ * #,##0.0_ ;_ * \-#,##0.0_ ;_ * &quot;-&quot;??_ ;_ @_ ">
                  <c:v>33.799999999999997</c:v>
                </c:pt>
                <c:pt idx="315" formatCode="_ * #,##0.0_ ;_ * \-#,##0.0_ ;_ * &quot;-&quot;??_ ;_ @_ ">
                  <c:v>33.9</c:v>
                </c:pt>
                <c:pt idx="316" formatCode="_ * #,##0.0_ ;_ * \-#,##0.0_ ;_ * &quot;-&quot;??_ ;_ @_ ">
                  <c:v>33.799999999999997</c:v>
                </c:pt>
                <c:pt idx="317" formatCode="_ * #,##0.0_ ;_ * \-#,##0.0_ ;_ * &quot;-&quot;??_ ;_ @_ ">
                  <c:v>33.9</c:v>
                </c:pt>
                <c:pt idx="318" formatCode="_ * #,##0.0_ ;_ * \-#,##0.0_ ;_ * &quot;-&quot;??_ ;_ @_ ">
                  <c:v>33.799999999999997</c:v>
                </c:pt>
                <c:pt idx="319" formatCode="_ * #,##0.0_ ;_ * \-#,##0.0_ ;_ * &quot;-&quot;??_ ;_ @_ ">
                  <c:v>34</c:v>
                </c:pt>
                <c:pt idx="320" formatCode="_ * #,##0.0_ ;_ * \-#,##0.0_ ;_ * &quot;-&quot;??_ ;_ @_ ">
                  <c:v>33.799999999999997</c:v>
                </c:pt>
                <c:pt idx="321" formatCode="_ * #,##0.0_ ;_ * \-#,##0.0_ ;_ * &quot;-&quot;??_ ;_ @_ ">
                  <c:v>34</c:v>
                </c:pt>
                <c:pt idx="322" formatCode="_ * #,##0.0_ ;_ * \-#,##0.0_ ;_ * &quot;-&quot;??_ ;_ @_ ">
                  <c:v>33.799999999999997</c:v>
                </c:pt>
                <c:pt idx="323" formatCode="_ * #,##0.0_ ;_ * \-#,##0.0_ ;_ * &quot;-&quot;??_ ;_ @_ ">
                  <c:v>33.9</c:v>
                </c:pt>
                <c:pt idx="324" formatCode="_ * #,##0.0_ ;_ * \-#,##0.0_ ;_ * &quot;-&quot;??_ ;_ @_ ">
                  <c:v>33.9</c:v>
                </c:pt>
                <c:pt idx="325" formatCode="_ * #,##0.0_ ;_ * \-#,##0.0_ ;_ * &quot;-&quot;??_ ;_ @_ ">
                  <c:v>34.299999999999997</c:v>
                </c:pt>
                <c:pt idx="326" formatCode="_ * #,##0.0_ ;_ * \-#,##0.0_ ;_ * &quot;-&quot;??_ ;_ @_ ">
                  <c:v>34.200000000000003</c:v>
                </c:pt>
                <c:pt idx="327" formatCode="_ * #,##0.0_ ;_ * \-#,##0.0_ ;_ * &quot;-&quot;??_ ;_ @_ ">
                  <c:v>34</c:v>
                </c:pt>
                <c:pt idx="328" formatCode="_ * #,##0.0_ ;_ * \-#,##0.0_ ;_ * &quot;-&quot;??_ ;_ @_ ">
                  <c:v>34.1</c:v>
                </c:pt>
                <c:pt idx="329" formatCode="_ * #,##0.0_ ;_ * \-#,##0.0_ ;_ * &quot;-&quot;??_ ;_ @_ ">
                  <c:v>34</c:v>
                </c:pt>
                <c:pt idx="330" formatCode="_ * #,##0.0_ ;_ * \-#,##0.0_ ;_ * &quot;-&quot;??_ ;_ @_ ">
                  <c:v>34.700000000000003</c:v>
                </c:pt>
                <c:pt idx="331" formatCode="_ * #,##0.0_ ;_ * \-#,##0.0_ ;_ * &quot;-&quot;??_ ;_ @_ ">
                  <c:v>34.700000000000003</c:v>
                </c:pt>
                <c:pt idx="332" formatCode="_ * #,##0.0_ ;_ * \-#,##0.0_ ;_ * &quot;-&quot;??_ ;_ @_ ">
                  <c:v>34.299999999999997</c:v>
                </c:pt>
                <c:pt idx="333" formatCode="_ * #,##0.0_ ;_ * \-#,##0.0_ ;_ * &quot;-&quot;??_ ;_ @_ ">
                  <c:v>34</c:v>
                </c:pt>
                <c:pt idx="334" formatCode="_ * #,##0.0_ ;_ * \-#,##0.0_ ;_ * &quot;-&quot;??_ ;_ @_ ">
                  <c:v>34.299999999999997</c:v>
                </c:pt>
                <c:pt idx="335" formatCode="_ * #,##0.0_ ;_ * \-#,##0.0_ ;_ * &quot;-&quot;??_ ;_ @_ ">
                  <c:v>34.5</c:v>
                </c:pt>
                <c:pt idx="336" formatCode="_ * #,##0.0_ ;_ * \-#,##0.0_ ;_ * &quot;-&quot;??_ ;_ @_ ">
                  <c:v>34.6</c:v>
                </c:pt>
                <c:pt idx="337" formatCode="_ * #,##0.0_ ;_ * \-#,##0.0_ ;_ * &quot;-&quot;??_ ;_ @_ ">
                  <c:v>35.1</c:v>
                </c:pt>
                <c:pt idx="338" formatCode="_ * #,##0.0_ ;_ * \-#,##0.0_ ;_ * &quot;-&quot;??_ ;_ @_ ">
                  <c:v>35.200000000000003</c:v>
                </c:pt>
                <c:pt idx="339" formatCode="_ * #,##0.0_ ;_ * \-#,##0.0_ ;_ * &quot;-&quot;??_ ;_ @_ ">
                  <c:v>34.700000000000003</c:v>
                </c:pt>
                <c:pt idx="340" formatCode="_ * #,##0.0_ ;_ * \-#,##0.0_ ;_ * &quot;-&quot;??_ ;_ @_ ">
                  <c:v>35.4</c:v>
                </c:pt>
                <c:pt idx="341" formatCode="_ * #,##0.0_ ;_ * \-#,##0.0_ ;_ * &quot;-&quot;??_ ;_ @_ ">
                  <c:v>35.299999999999997</c:v>
                </c:pt>
                <c:pt idx="342" formatCode="_ * #,##0.0_ ;_ * \-#,##0.0_ ;_ * &quot;-&quot;??_ ;_ @_ ">
                  <c:v>34.6</c:v>
                </c:pt>
                <c:pt idx="343" formatCode="_ * #,##0.0_ ;_ * \-#,##0.0_ ;_ * &quot;-&quot;??_ ;_ @_ ">
                  <c:v>34.299999999999997</c:v>
                </c:pt>
                <c:pt idx="344" formatCode="_ * #,##0.0_ ;_ * \-#,##0.0_ ;_ * &quot;-&quot;??_ ;_ @_ ">
                  <c:v>34.4</c:v>
                </c:pt>
                <c:pt idx="345" formatCode="_ * #,##0.0_ ;_ * \-#,##0.0_ ;_ * &quot;-&quot;??_ ;_ @_ ">
                  <c:v>34.9</c:v>
                </c:pt>
                <c:pt idx="346" formatCode="_ * #,##0.0_ ;_ * \-#,##0.0_ ;_ * &quot;-&quot;??_ ;_ @_ ">
                  <c:v>35.299999999999997</c:v>
                </c:pt>
                <c:pt idx="347" formatCode="_ * #,##0.0_ ;_ * \-#,##0.0_ ;_ * &quot;-&quot;??_ ;_ @_ ">
                  <c:v>35.799999999999997</c:v>
                </c:pt>
                <c:pt idx="348" formatCode="_ * #,##0.0_ ;_ * \-#,##0.0_ ;_ * &quot;-&quot;??_ ;_ @_ ">
                  <c:v>35.9</c:v>
                </c:pt>
                <c:pt idx="349" formatCode="_ * #,##0.0_ ;_ * \-#,##0.0_ ;_ * &quot;-&quot;??_ ;_ @_ ">
                  <c:v>35.200000000000003</c:v>
                </c:pt>
                <c:pt idx="350" formatCode="_ * #,##0.0_ ;_ * \-#,##0.0_ ;_ * &quot;-&quot;??_ ;_ @_ ">
                  <c:v>35.4</c:v>
                </c:pt>
                <c:pt idx="351" formatCode="_ * #,##0.0_ ;_ * \-#,##0.0_ ;_ * &quot;-&quot;??_ ;_ @_ ">
                  <c:v>35.200000000000003</c:v>
                </c:pt>
                <c:pt idx="352" formatCode="_ * #,##0.0_ ;_ * \-#,##0.0_ ;_ * &quot;-&quot;??_ ;_ @_ ">
                  <c:v>36</c:v>
                </c:pt>
                <c:pt idx="353" formatCode="_ * #,##0.0_ ;_ * \-#,##0.0_ ;_ * &quot;-&quot;??_ ;_ @_ ">
                  <c:v>35.700000000000003</c:v>
                </c:pt>
                <c:pt idx="354" formatCode="_ * #,##0.0_ ;_ * \-#,##0.0_ ;_ * &quot;-&quot;??_ ;_ @_ ">
                  <c:v>35.4</c:v>
                </c:pt>
                <c:pt idx="355" formatCode="_ * #,##0.0_ ;_ * \-#,##0.0_ ;_ * &quot;-&quot;??_ ;_ @_ ">
                  <c:v>35.4</c:v>
                </c:pt>
                <c:pt idx="356" formatCode="_ * #,##0.0_ ;_ * \-#,##0.0_ ;_ * &quot;-&quot;??_ ;_ @_ ">
                  <c:v>34.700000000000003</c:v>
                </c:pt>
                <c:pt idx="357" formatCode="_ * #,##0.0_ ;_ * \-#,##0.0_ ;_ * &quot;-&quot;??_ ;_ @_ ">
                  <c:v>34.200000000000003</c:v>
                </c:pt>
                <c:pt idx="358" formatCode="_ * #,##0.0_ ;_ * \-#,##0.0_ ;_ * &quot;-&quot;??_ ;_ @_ ">
                  <c:v>34.299999999999997</c:v>
                </c:pt>
                <c:pt idx="359" formatCode="_ * #,##0.0_ ;_ * \-#,##0.0_ ;_ * &quot;-&quot;??_ ;_ @_ ">
                  <c:v>33.799999999999997</c:v>
                </c:pt>
                <c:pt idx="360" formatCode="_ * #,##0.0_ ;_ * \-#,##0.0_ ;_ * &quot;-&quot;??_ ;_ @_ ">
                  <c:v>33.700000000000003</c:v>
                </c:pt>
                <c:pt idx="361" formatCode="_ * #,##0.0_ ;_ * \-#,##0.0_ ;_ * &quot;-&quot;??_ ;_ @_ ">
                  <c:v>34</c:v>
                </c:pt>
                <c:pt idx="362" formatCode="_ * #,##0.0_ ;_ * \-#,##0.0_ ;_ * &quot;-&quot;??_ ;_ @_ ">
                  <c:v>34</c:v>
                </c:pt>
                <c:pt idx="363" formatCode="_ * #,##0.0_ ;_ * \-#,##0.0_ ;_ * &quot;-&quot;??_ ;_ @_ ">
                  <c:v>33.700000000000003</c:v>
                </c:pt>
                <c:pt idx="364" formatCode="_ * #,##0.0_ ;_ * \-#,##0.0_ ;_ * &quot;-&quot;??_ ;_ @_ ">
                  <c:v>33.799999999999997</c:v>
                </c:pt>
                <c:pt idx="365" formatCode="_ * #,##0.0_ ;_ * \-#,##0.0_ ;_ * &quot;-&quot;??_ ;_ @_ ">
                  <c:v>33.799999999999997</c:v>
                </c:pt>
                <c:pt idx="366" formatCode="_ * #,##0.0_ ;_ * \-#,##0.0_ ;_ * &quot;-&quot;??_ ;_ @_ ">
                  <c:v>33.799999999999997</c:v>
                </c:pt>
                <c:pt idx="367" formatCode="_ * #,##0.0_ ;_ * \-#,##0.0_ ;_ * &quot;-&quot;??_ ;_ @_ ">
                  <c:v>33.799999999999997</c:v>
                </c:pt>
                <c:pt idx="368" formatCode="_ * #,##0.0_ ;_ * \-#,##0.0_ ;_ * &quot;-&quot;??_ ;_ @_ ">
                  <c:v>34.5</c:v>
                </c:pt>
                <c:pt idx="369" formatCode="_ * #,##0.0_ ;_ * \-#,##0.0_ ;_ * &quot;-&quot;??_ ;_ @_ ">
                  <c:v>34.299999999999997</c:v>
                </c:pt>
                <c:pt idx="370" formatCode="_ * #,##0.0_ ;_ * \-#,##0.0_ ;_ * &quot;-&quot;??_ ;_ @_ ">
                  <c:v>34.5</c:v>
                </c:pt>
                <c:pt idx="371" formatCode="_ * #,##0.0_ ;_ * \-#,##0.0_ ;_ * &quot;-&quot;??_ ;_ @_ ">
                  <c:v>34.4</c:v>
                </c:pt>
                <c:pt idx="372" formatCode="_ * #,##0.0_ ;_ * \-#,##0.0_ ;_ * &quot;-&quot;??_ ;_ @_ ">
                  <c:v>34</c:v>
                </c:pt>
                <c:pt idx="373" formatCode="_ * #,##0.0_ ;_ * \-#,##0.0_ ;_ * &quot;-&quot;??_ ;_ @_ ">
                  <c:v>34</c:v>
                </c:pt>
                <c:pt idx="374" formatCode="_ * #,##0.0_ ;_ * \-#,##0.0_ ;_ * &quot;-&quot;??_ ;_ @_ ">
                  <c:v>34.5</c:v>
                </c:pt>
                <c:pt idx="375" formatCode="_ * #,##0.0_ ;_ * \-#,##0.0_ ;_ * &quot;-&quot;??_ ;_ @_ ">
                  <c:v>34.6</c:v>
                </c:pt>
                <c:pt idx="376" formatCode="_ * #,##0.0_ ;_ * \-#,##0.0_ ;_ * &quot;-&quot;??_ ;_ @_ ">
                  <c:v>34.6</c:v>
                </c:pt>
                <c:pt idx="377" formatCode="_ * #,##0.0_ ;_ * \-#,##0.0_ ;_ * &quot;-&quot;??_ ;_ @_ ">
                  <c:v>34.6</c:v>
                </c:pt>
                <c:pt idx="378" formatCode="_ * #,##0.0_ ;_ * \-#,##0.0_ ;_ * &quot;-&quot;??_ ;_ @_ ">
                  <c:v>34.6</c:v>
                </c:pt>
                <c:pt idx="379" formatCode="_ * #,##0.0_ ;_ * \-#,##0.0_ ;_ * &quot;-&quot;??_ ;_ @_ ">
                  <c:v>34.6</c:v>
                </c:pt>
                <c:pt idx="380" formatCode="_ * #,##0.0_ ;_ * \-#,##0.0_ ;_ * &quot;-&quot;??_ ;_ @_ ">
                  <c:v>34.799999999999997</c:v>
                </c:pt>
                <c:pt idx="381" formatCode="_ * #,##0.0_ ;_ * \-#,##0.0_ ;_ * &quot;-&quot;??_ ;_ @_ ">
                  <c:v>34.5</c:v>
                </c:pt>
                <c:pt idx="382" formatCode="_ * #,##0.0_ ;_ * \-#,##0.0_ ;_ * &quot;-&quot;??_ ;_ @_ ">
                  <c:v>34.700000000000003</c:v>
                </c:pt>
                <c:pt idx="383" formatCode="_ * #,##0.0_ ;_ * \-#,##0.0_ ;_ * &quot;-&quot;??_ ;_ @_ ">
                  <c:v>34.6</c:v>
                </c:pt>
                <c:pt idx="384" formatCode="_ * #,##0.0_ ;_ * \-#,##0.0_ ;_ * &quot;-&quot;??_ ;_ @_ ">
                  <c:v>34.5</c:v>
                </c:pt>
                <c:pt idx="385" formatCode="_ * #,##0.0_ ;_ * \-#,##0.0_ ;_ * &quot;-&quot;??_ ;_ @_ ">
                  <c:v>34.700000000000003</c:v>
                </c:pt>
                <c:pt idx="386" formatCode="_ * #,##0.0_ ;_ * \-#,##0.0_ ;_ * &quot;-&quot;??_ ;_ @_ ">
                  <c:v>34.5</c:v>
                </c:pt>
                <c:pt idx="387" formatCode="_ * #,##0.0_ ;_ * \-#,##0.0_ ;_ * &quot;-&quot;??_ ;_ @_ ">
                  <c:v>34.799999999999997</c:v>
                </c:pt>
                <c:pt idx="388" formatCode="_ * #,##0.0_ ;_ * \-#,##0.0_ ;_ * &quot;-&quot;??_ ;_ @_ ">
                  <c:v>34.1</c:v>
                </c:pt>
                <c:pt idx="389" formatCode="_ * #,##0.0_ ;_ * \-#,##0.0_ ;_ * &quot;-&quot;??_ ;_ @_ ">
                  <c:v>34.700000000000003</c:v>
                </c:pt>
                <c:pt idx="390" formatCode="_ * #,##0.0_ ;_ * \-#,##0.0_ ;_ * &quot;-&quot;??_ ;_ @_ ">
                  <c:v>34.799999999999997</c:v>
                </c:pt>
                <c:pt idx="391" formatCode="_ * #,##0.0_ ;_ * \-#,##0.0_ ;_ * &quot;-&quot;??_ ;_ @_ ">
                  <c:v>34.799999999999997</c:v>
                </c:pt>
                <c:pt idx="392" formatCode="_ * #,##0.0_ ;_ * \-#,##0.0_ ;_ * &quot;-&quot;??_ ;_ @_ ">
                  <c:v>34.799999999999997</c:v>
                </c:pt>
                <c:pt idx="393" formatCode="_ * #,##0.0_ ;_ * \-#,##0.0_ ;_ * &quot;-&quot;??_ ;_ @_ ">
                  <c:v>34.799999999999997</c:v>
                </c:pt>
                <c:pt idx="394" formatCode="_ * #,##0.0_ ;_ * \-#,##0.0_ ;_ * &quot;-&quot;??_ ;_ @_ ">
                  <c:v>34.4</c:v>
                </c:pt>
                <c:pt idx="395" formatCode="_ * #,##0.0_ ;_ * \-#,##0.0_ ;_ * &quot;-&quot;??_ ;_ @_ ">
                  <c:v>34.799999999999997</c:v>
                </c:pt>
                <c:pt idx="396" formatCode="_ * #,##0.0_ ;_ * \-#,##0.0_ ;_ * &quot;-&quot;??_ ;_ @_ ">
                  <c:v>34.799999999999997</c:v>
                </c:pt>
                <c:pt idx="397" formatCode="_ * #,##0.0_ ;_ * \-#,##0.0_ ;_ * &quot;-&quot;??_ ;_ @_ ">
                  <c:v>35</c:v>
                </c:pt>
                <c:pt idx="398" formatCode="_ * #,##0.0_ ;_ * \-#,##0.0_ ;_ * &quot;-&quot;??_ ;_ @_ ">
                  <c:v>34.5</c:v>
                </c:pt>
                <c:pt idx="399" formatCode="_ * #,##0.0_ ;_ * \-#,##0.0_ ;_ * &quot;-&quot;??_ ;_ @_ ">
                  <c:v>34.700000000000003</c:v>
                </c:pt>
                <c:pt idx="400" formatCode="_ * #,##0.0_ ;_ * \-#,##0.0_ ;_ * &quot;-&quot;??_ ;_ @_ ">
                  <c:v>34</c:v>
                </c:pt>
                <c:pt idx="401" formatCode="_ * #,##0.0_ ;_ * \-#,##0.0_ ;_ * &quot;-&quot;??_ ;_ @_ ">
                  <c:v>34</c:v>
                </c:pt>
                <c:pt idx="402" formatCode="_ * #,##0.0_ ;_ * \-#,##0.0_ ;_ * &quot;-&quot;??_ ;_ @_ ">
                  <c:v>34.700000000000003</c:v>
                </c:pt>
                <c:pt idx="403" formatCode="_ * #,##0.0_ ;_ * \-#,##0.0_ ;_ * &quot;-&quot;??_ ;_ @_ ">
                  <c:v>35</c:v>
                </c:pt>
                <c:pt idx="404" formatCode="_ * #,##0.0_ ;_ * \-#,##0.0_ ;_ * &quot;-&quot;??_ ;_ @_ ">
                  <c:v>35</c:v>
                </c:pt>
                <c:pt idx="405" formatCode="_ * #,##0.0_ ;_ * \-#,##0.0_ ;_ * &quot;-&quot;??_ ;_ @_ ">
                  <c:v>35</c:v>
                </c:pt>
                <c:pt idx="406" formatCode="_ * #,##0.0_ ;_ * \-#,##0.0_ ;_ * &quot;-&quot;??_ ;_ @_ ">
                  <c:v>34.6</c:v>
                </c:pt>
                <c:pt idx="407" formatCode="_ * #,##0.0_ ;_ * \-#,##0.0_ ;_ * &quot;-&quot;??_ ;_ @_ ">
                  <c:v>34.9</c:v>
                </c:pt>
                <c:pt idx="408" formatCode="_ * #,##0.0_ ;_ * \-#,##0.0_ ;_ * &quot;-&quot;??_ ;_ @_ ">
                  <c:v>34.200000000000003</c:v>
                </c:pt>
                <c:pt idx="409" formatCode="_ * #,##0.0_ ;_ * \-#,##0.0_ ;_ * &quot;-&quot;??_ ;_ @_ ">
                  <c:v>34.4</c:v>
                </c:pt>
                <c:pt idx="410" formatCode="_ * #,##0.0_ ;_ * \-#,##0.0_ ;_ * &quot;-&quot;??_ ;_ @_ ">
                  <c:v>35.200000000000003</c:v>
                </c:pt>
                <c:pt idx="411" formatCode="_ * #,##0.0_ ;_ * \-#,##0.0_ ;_ * &quot;-&quot;??_ ;_ @_ ">
                  <c:v>34</c:v>
                </c:pt>
                <c:pt idx="412" formatCode="_ * #,##0.0_ ;_ * \-#,##0.0_ ;_ * &quot;-&quot;??_ ;_ @_ ">
                  <c:v>33.4</c:v>
                </c:pt>
                <c:pt idx="413" formatCode="_ * #,##0.0_ ;_ * \-#,##0.0_ ;_ * &quot;-&quot;??_ ;_ @_ ">
                  <c:v>33.700000000000003</c:v>
                </c:pt>
                <c:pt idx="414" formatCode="_ * #,##0.0_ ;_ * \-#,##0.0_ ;_ * &quot;-&quot;??_ ;_ @_ ">
                  <c:v>33.5</c:v>
                </c:pt>
                <c:pt idx="415" formatCode="_ * #,##0.0_ ;_ * \-#,##0.0_ ;_ * &quot;-&quot;??_ ;_ @_ ">
                  <c:v>33</c:v>
                </c:pt>
                <c:pt idx="416" formatCode="_ * #,##0.0_ ;_ * \-#,##0.0_ ;_ * &quot;-&quot;??_ ;_ @_ ">
                  <c:v>32.200000000000003</c:v>
                </c:pt>
                <c:pt idx="417" formatCode="_ * #,##0.0_ ;_ * \-#,##0.0_ ;_ * &quot;-&quot;??_ ;_ @_ ">
                  <c:v>32.299999999999997</c:v>
                </c:pt>
                <c:pt idx="418" formatCode="_ * #,##0.0_ ;_ * \-#,##0.0_ ;_ * &quot;-&quot;??_ ;_ @_ ">
                  <c:v>32.299999999999997</c:v>
                </c:pt>
                <c:pt idx="419" formatCode="_ * #,##0.0_ ;_ * \-#,##0.0_ ;_ * &quot;-&quot;??_ ;_ @_ ">
                  <c:v>32</c:v>
                </c:pt>
                <c:pt idx="420" formatCode="_ * #,##0.0_ ;_ * \-#,##0.0_ ;_ * &quot;-&quot;??_ ;_ @_ ">
                  <c:v>32.5</c:v>
                </c:pt>
                <c:pt idx="421" formatCode="_ * #,##0.0_ ;_ * \-#,##0.0_ ;_ * &quot;-&quot;??_ ;_ @_ ">
                  <c:v>31.5</c:v>
                </c:pt>
                <c:pt idx="422" formatCode="_ * #,##0.0_ ;_ * \-#,##0.0_ ;_ * &quot;-&quot;??_ ;_ @_ ">
                  <c:v>32.200000000000003</c:v>
                </c:pt>
                <c:pt idx="423" formatCode="_ * #,##0.0_ ;_ * \-#,##0.0_ ;_ * &quot;-&quot;??_ ;_ @_ ">
                  <c:v>32</c:v>
                </c:pt>
                <c:pt idx="424" formatCode="_ * #,##0.0_ ;_ * \-#,##0.0_ ;_ * &quot;-&quot;??_ ;_ @_ ">
                  <c:v>32.1</c:v>
                </c:pt>
                <c:pt idx="425" formatCode="_ * #,##0.0_ ;_ * \-#,##0.0_ ;_ * &quot;-&quot;??_ ;_ @_ ">
                  <c:v>32</c:v>
                </c:pt>
                <c:pt idx="426" formatCode="_ * #,##0.0_ ;_ * \-#,##0.0_ ;_ * &quot;-&quot;??_ ;_ @_ ">
                  <c:v>32</c:v>
                </c:pt>
                <c:pt idx="427" formatCode="_ * #,##0.0_ ;_ * \-#,##0.0_ ;_ * &quot;-&quot;??_ ;_ @_ ">
                  <c:v>32.200000000000003</c:v>
                </c:pt>
                <c:pt idx="428" formatCode="_ * #,##0.0_ ;_ * \-#,##0.0_ ;_ * &quot;-&quot;??_ ;_ @_ ">
                  <c:v>32.200000000000003</c:v>
                </c:pt>
                <c:pt idx="429" formatCode="_ * #,##0.0_ ;_ * \-#,##0.0_ ;_ * &quot;-&quot;??_ ;_ @_ ">
                  <c:v>32.1</c:v>
                </c:pt>
                <c:pt idx="430" formatCode="_ * #,##0.0_ ;_ * \-#,##0.0_ ;_ * &quot;-&quot;??_ ;_ @_ ">
                  <c:v>32</c:v>
                </c:pt>
                <c:pt idx="431" formatCode="_ * #,##0.0_ ;_ * \-#,##0.0_ ;_ * &quot;-&quot;??_ ;_ @_ ">
                  <c:v>31.9</c:v>
                </c:pt>
                <c:pt idx="432" formatCode="_ * #,##0.0_ ;_ * \-#,##0.0_ ;_ * &quot;-&quot;??_ ;_ @_ ">
                  <c:v>31.9</c:v>
                </c:pt>
                <c:pt idx="433" formatCode="_ * #,##0.0_ ;_ * \-#,##0.0_ ;_ * &quot;-&quot;??_ ;_ @_ ">
                  <c:v>31.4</c:v>
                </c:pt>
                <c:pt idx="434" formatCode="_ * #,##0.0_ ;_ * \-#,##0.0_ ;_ * &quot;-&quot;??_ ;_ @_ ">
                  <c:v>31.9</c:v>
                </c:pt>
                <c:pt idx="435" formatCode="_ * #,##0.0_ ;_ * \-#,##0.0_ ;_ * &quot;-&quot;??_ ;_ @_ ">
                  <c:v>31.8</c:v>
                </c:pt>
                <c:pt idx="436" formatCode="_ * #,##0.0_ ;_ * \-#,##0.0_ ;_ * &quot;-&quot;??_ ;_ @_ ">
                  <c:v>31.5</c:v>
                </c:pt>
                <c:pt idx="437" formatCode="_ * #,##0.0_ ;_ * \-#,##0.0_ ;_ * &quot;-&quot;??_ ;_ @_ ">
                  <c:v>30.6</c:v>
                </c:pt>
                <c:pt idx="438" formatCode="_ * #,##0.0_ ;_ * \-#,##0.0_ ;_ * &quot;-&quot;??_ ;_ @_ ">
                  <c:v>32</c:v>
                </c:pt>
                <c:pt idx="439" formatCode="_ * #,##0.0_ ;_ * \-#,##0.0_ ;_ * &quot;-&quot;??_ ;_ @_ ">
                  <c:v>30.9</c:v>
                </c:pt>
                <c:pt idx="440" formatCode="_ * #,##0.0_ ;_ * \-#,##0.0_ ;_ * &quot;-&quot;??_ ;_ @_ ">
                  <c:v>31.1</c:v>
                </c:pt>
                <c:pt idx="441" formatCode="_ * #,##0.0_ ;_ * \-#,##0.0_ ;_ * &quot;-&quot;??_ ;_ @_ ">
                  <c:v>31.5</c:v>
                </c:pt>
                <c:pt idx="442" formatCode="_ * #,##0.0_ ;_ * \-#,##0.0_ ;_ * &quot;-&quot;??_ ;_ @_ ">
                  <c:v>31.2</c:v>
                </c:pt>
                <c:pt idx="443" formatCode="_ * #,##0.0_ ;_ * \-#,##0.0_ ;_ * &quot;-&quot;??_ ;_ @_ ">
                  <c:v>31.2</c:v>
                </c:pt>
                <c:pt idx="444" formatCode="_ * #,##0.0_ ;_ * \-#,##0.0_ ;_ * &quot;-&quot;??_ ;_ @_ ">
                  <c:v>31.9</c:v>
                </c:pt>
                <c:pt idx="445" formatCode="_ * #,##0.0_ ;_ * \-#,##0.0_ ;_ * &quot;-&quot;??_ ;_ @_ ">
                  <c:v>31</c:v>
                </c:pt>
                <c:pt idx="446" formatCode="_ * #,##0.0_ ;_ * \-#,##0.0_ ;_ * &quot;-&quot;??_ ;_ @_ ">
                  <c:v>31</c:v>
                </c:pt>
                <c:pt idx="447" formatCode="_ * #,##0.0_ ;_ * \-#,##0.0_ ;_ * &quot;-&quot;??_ ;_ @_ ">
                  <c:v>30</c:v>
                </c:pt>
                <c:pt idx="448" formatCode="_ * #,##0.0_ ;_ * \-#,##0.0_ ;_ * &quot;-&quot;??_ ;_ @_ ">
                  <c:v>29.8</c:v>
                </c:pt>
                <c:pt idx="449" formatCode="_ * #,##0.0_ ;_ * \-#,##0.0_ ;_ * &quot;-&quot;??_ ;_ @_ ">
                  <c:v>30</c:v>
                </c:pt>
                <c:pt idx="450" formatCode="_ * #,##0.0_ ;_ * \-#,##0.0_ ;_ * &quot;-&quot;??_ ;_ @_ ">
                  <c:v>29</c:v>
                </c:pt>
                <c:pt idx="451" formatCode="_ * #,##0.0_ ;_ * \-#,##0.0_ ;_ * &quot;-&quot;??_ ;_ @_ ">
                  <c:v>29.5</c:v>
                </c:pt>
                <c:pt idx="452" formatCode="_ * #,##0.0_ ;_ * \-#,##0.0_ ;_ * &quot;-&quot;??_ ;_ @_ ">
                  <c:v>29.3</c:v>
                </c:pt>
                <c:pt idx="453" formatCode="_ * #,##0.0_ ;_ * \-#,##0.0_ ;_ * &quot;-&quot;??_ ;_ @_ ">
                  <c:v>29.1</c:v>
                </c:pt>
                <c:pt idx="454" formatCode="_ * #,##0.0_ ;_ * \-#,##0.0_ ;_ * &quot;-&quot;??_ ;_ @_ ">
                  <c:v>29.1</c:v>
                </c:pt>
                <c:pt idx="455" formatCode="_ * #,##0.0_ ;_ * \-#,##0.0_ ;_ * &quot;-&quot;??_ ;_ @_ ">
                  <c:v>29.2</c:v>
                </c:pt>
                <c:pt idx="456" formatCode="_ * #,##0.0_ ;_ * \-#,##0.0_ ;_ * &quot;-&quot;??_ ;_ @_ ">
                  <c:v>29</c:v>
                </c:pt>
                <c:pt idx="457" formatCode="_ * #,##0.0_ ;_ * \-#,##0.0_ ;_ * &quot;-&quot;??_ ;_ @_ ">
                  <c:v>29.1</c:v>
                </c:pt>
                <c:pt idx="458" formatCode="_ * #,##0.0_ ;_ * \-#,##0.0_ ;_ * &quot;-&quot;??_ ;_ @_ ">
                  <c:v>28.9</c:v>
                </c:pt>
                <c:pt idx="459" formatCode="_ * #,##0.0_ ;_ * \-#,##0.0_ ;_ * &quot;-&quot;??_ ;_ @_ ">
                  <c:v>29</c:v>
                </c:pt>
                <c:pt idx="460" formatCode="_ * #,##0.0_ ;_ * \-#,##0.0_ ;_ * &quot;-&quot;??_ ;_ @_ ">
                  <c:v>28.7</c:v>
                </c:pt>
                <c:pt idx="461" formatCode="_ * #,##0.0_ ;_ * \-#,##0.0_ ;_ * &quot;-&quot;??_ ;_ @_ ">
                  <c:v>29.3</c:v>
                </c:pt>
                <c:pt idx="462" formatCode="_ * #,##0.0_ ;_ * \-#,##0.0_ ;_ * &quot;-&quot;??_ ;_ @_ ">
                  <c:v>29.4</c:v>
                </c:pt>
                <c:pt idx="463" formatCode="_ * #,##0.0_ ;_ * \-#,##0.0_ ;_ * &quot;-&quot;??_ ;_ @_ ">
                  <c:v>29</c:v>
                </c:pt>
                <c:pt idx="464" formatCode="_ * #,##0.0_ ;_ * \-#,##0.0_ ;_ * &quot;-&quot;??_ ;_ @_ ">
                  <c:v>29.2</c:v>
                </c:pt>
                <c:pt idx="465" formatCode="_ * #,##0.0_ ;_ * \-#,##0.0_ ;_ * &quot;-&quot;??_ ;_ @_ ">
                  <c:v>29.2</c:v>
                </c:pt>
                <c:pt idx="466" formatCode="_ * #,##0.0_ ;_ * \-#,##0.0_ ;_ * &quot;-&quot;??_ ;_ @_ ">
                  <c:v>29</c:v>
                </c:pt>
                <c:pt idx="467" formatCode="_ * #,##0.0_ ;_ * \-#,##0.0_ ;_ * &quot;-&quot;??_ ;_ @_ ">
                  <c:v>29</c:v>
                </c:pt>
                <c:pt idx="468" formatCode="_ * #,##0.0_ ;_ * \-#,##0.0_ ;_ * &quot;-&quot;??_ ;_ @_ ">
                  <c:v>29.5</c:v>
                </c:pt>
                <c:pt idx="469" formatCode="_ * #,##0.0_ ;_ * \-#,##0.0_ ;_ * &quot;-&quot;??_ ;_ @_ ">
                  <c:v>29.5</c:v>
                </c:pt>
                <c:pt idx="470" formatCode="_ * #,##0.0_ ;_ * \-#,##0.0_ ;_ * &quot;-&quot;??_ ;_ @_ ">
                  <c:v>29.2</c:v>
                </c:pt>
                <c:pt idx="471" formatCode="_ * #,##0.0_ ;_ * \-#,##0.0_ ;_ * &quot;-&quot;??_ ;_ @_ ">
                  <c:v>29.4</c:v>
                </c:pt>
                <c:pt idx="472" formatCode="_ * #,##0.0_ ;_ * \-#,##0.0_ ;_ * &quot;-&quot;??_ ;_ @_ ">
                  <c:v>29.4</c:v>
                </c:pt>
                <c:pt idx="473" formatCode="_ * #,##0.0_ ;_ * \-#,##0.0_ ;_ * &quot;-&quot;??_ ;_ @_ ">
                  <c:v>29.7</c:v>
                </c:pt>
                <c:pt idx="474" formatCode="_ * #,##0.0_ ;_ * \-#,##0.0_ ;_ * &quot;-&quot;??_ ;_ @_ ">
                  <c:v>28.8</c:v>
                </c:pt>
                <c:pt idx="475" formatCode="_ * #,##0.0_ ;_ * \-#,##0.0_ ;_ * &quot;-&quot;??_ ;_ @_ ">
                  <c:v>28.3</c:v>
                </c:pt>
                <c:pt idx="476" formatCode="_ * #,##0.0_ ;_ * \-#,##0.0_ ;_ * &quot;-&quot;??_ ;_ @_ ">
                  <c:v>27.9</c:v>
                </c:pt>
                <c:pt idx="477" formatCode="_ * #,##0.0_ ;_ * \-#,##0.0_ ;_ * &quot;-&quot;??_ ;_ @_ ">
                  <c:v>27.9</c:v>
                </c:pt>
                <c:pt idx="478" formatCode="_ * #,##0.0_ ;_ * \-#,##0.0_ ;_ * &quot;-&quot;??_ ;_ @_ ">
                  <c:v>27.8</c:v>
                </c:pt>
                <c:pt idx="479" formatCode="_ * #,##0.0_ ;_ * \-#,##0.0_ ;_ * &quot;-&quot;??_ ;_ @_ ">
                  <c:v>27.5</c:v>
                </c:pt>
                <c:pt idx="480" formatCode="_ * #,##0.0_ ;_ * \-#,##0.0_ ;_ * &quot;-&quot;??_ ;_ @_ ">
                  <c:v>27.3</c:v>
                </c:pt>
                <c:pt idx="481" formatCode="_ * #,##0.0_ ;_ * \-#,##0.0_ ;_ * &quot;-&quot;??_ ;_ @_ ">
                  <c:v>27.9</c:v>
                </c:pt>
                <c:pt idx="482" formatCode="_ * #,##0.0_ ;_ * \-#,##0.0_ ;_ * &quot;-&quot;??_ ;_ @_ ">
                  <c:v>27.6</c:v>
                </c:pt>
                <c:pt idx="483" formatCode="_ * #,##0.0_ ;_ * \-#,##0.0_ ;_ * &quot;-&quot;??_ ;_ @_ ">
                  <c:v>28</c:v>
                </c:pt>
                <c:pt idx="484" formatCode="_ * #,##0.0_ ;_ * \-#,##0.0_ ;_ * &quot;-&quot;??_ ;_ @_ ">
                  <c:v>27.2</c:v>
                </c:pt>
                <c:pt idx="485" formatCode="_ * #,##0.0_ ;_ * \-#,##0.0_ ;_ * &quot;-&quot;??_ ;_ @_ ">
                  <c:v>27.2</c:v>
                </c:pt>
                <c:pt idx="486" formatCode="_ * #,##0.0_ ;_ * \-#,##0.0_ ;_ * &quot;-&quot;??_ ;_ @_ ">
                  <c:v>27.4</c:v>
                </c:pt>
                <c:pt idx="487" formatCode="_ * #,##0.0_ ;_ * \-#,##0.0_ ;_ * &quot;-&quot;??_ ;_ @_ ">
                  <c:v>27</c:v>
                </c:pt>
                <c:pt idx="488" formatCode="_ * #,##0.0_ ;_ * \-#,##0.0_ ;_ * &quot;-&quot;??_ ;_ @_ ">
                  <c:v>27</c:v>
                </c:pt>
                <c:pt idx="489" formatCode="_ * #,##0.0_ ;_ * \-#,##0.0_ ;_ * &quot;-&quot;??_ ;_ @_ ">
                  <c:v>27.3</c:v>
                </c:pt>
                <c:pt idx="490" formatCode="_ * #,##0.0_ ;_ * \-#,##0.0_ ;_ * &quot;-&quot;??_ ;_ @_ ">
                  <c:v>26.8</c:v>
                </c:pt>
                <c:pt idx="491" formatCode="_ * #,##0.0_ ;_ * \-#,##0.0_ ;_ * &quot;-&quot;??_ ;_ @_ ">
                  <c:v>26.8</c:v>
                </c:pt>
                <c:pt idx="492" formatCode="_ * #,##0.0_ ;_ * \-#,##0.0_ ;_ * &quot;-&quot;??_ ;_ @_ ">
                  <c:v>26.4</c:v>
                </c:pt>
                <c:pt idx="493" formatCode="_ * #,##0.0_ ;_ * \-#,##0.0_ ;_ * &quot;-&quot;??_ ;_ @_ ">
                  <c:v>26.8</c:v>
                </c:pt>
                <c:pt idx="494" formatCode="_ * #,##0.0_ ;_ * \-#,##0.0_ ;_ * &quot;-&quot;??_ ;_ @_ ">
                  <c:v>26.8</c:v>
                </c:pt>
                <c:pt idx="495" formatCode="_ * #,##0.0_ ;_ * \-#,##0.0_ ;_ * &quot;-&quot;??_ ;_ @_ ">
                  <c:v>26.8</c:v>
                </c:pt>
                <c:pt idx="496" formatCode="_ * #,##0.0_ ;_ * \-#,##0.0_ ;_ * &quot;-&quot;??_ ;_ @_ ">
                  <c:v>26.1</c:v>
                </c:pt>
                <c:pt idx="497" formatCode="_ * #,##0.0_ ;_ * \-#,##0.0_ ;_ * &quot;-&quot;??_ ;_ @_ ">
                  <c:v>26.9</c:v>
                </c:pt>
                <c:pt idx="498" formatCode="_ * #,##0.0_ ;_ * \-#,##0.0_ ;_ * &quot;-&quot;??_ ;_ @_ ">
                  <c:v>27</c:v>
                </c:pt>
                <c:pt idx="499" formatCode="_ * #,##0.0_ ;_ * \-#,##0.0_ ;_ * &quot;-&quot;??_ ;_ @_ ">
                  <c:v>27.2</c:v>
                </c:pt>
                <c:pt idx="500" formatCode="_ * #,##0.0_ ;_ * \-#,##0.0_ ;_ * &quot;-&quot;??_ ;_ @_ ">
                  <c:v>27.3</c:v>
                </c:pt>
                <c:pt idx="501" formatCode="_ * #,##0.0_ ;_ * \-#,##0.0_ ;_ * &quot;-&quot;??_ ;_ @_ ">
                  <c:v>27</c:v>
                </c:pt>
                <c:pt idx="502" formatCode="_ * #,##0.0_ ;_ * \-#,##0.0_ ;_ * &quot;-&quot;??_ ;_ @_ ">
                  <c:v>29</c:v>
                </c:pt>
                <c:pt idx="503" formatCode="_ * #,##0.0_ ;_ * \-#,##0.0_ ;_ * &quot;-&quot;??_ ;_ @_ ">
                  <c:v>28.7</c:v>
                </c:pt>
                <c:pt idx="504" formatCode="_ * #,##0.0_ ;_ * \-#,##0.0_ ;_ * &quot;-&quot;??_ ;_ @_ ">
                  <c:v>28.6</c:v>
                </c:pt>
                <c:pt idx="505" formatCode="_ * #,##0.0_ ;_ * \-#,##0.0_ ;_ * &quot;-&quot;??_ ;_ @_ ">
                  <c:v>29</c:v>
                </c:pt>
                <c:pt idx="506" formatCode="_ * #,##0.0_ ;_ * \-#,##0.0_ ;_ * &quot;-&quot;??_ ;_ @_ ">
                  <c:v>29</c:v>
                </c:pt>
                <c:pt idx="507" formatCode="_ * #,##0.0_ ;_ * \-#,##0.0_ ;_ * &quot;-&quot;??_ ;_ @_ ">
                  <c:v>28.6</c:v>
                </c:pt>
                <c:pt idx="508" formatCode="_ * #,##0.0_ ;_ * \-#,##0.0_ ;_ * &quot;-&quot;??_ ;_ @_ ">
                  <c:v>29</c:v>
                </c:pt>
                <c:pt idx="509" formatCode="_ * #,##0.0_ ;_ * \-#,##0.0_ ;_ * &quot;-&quot;??_ ;_ @_ ">
                  <c:v>28.9</c:v>
                </c:pt>
                <c:pt idx="510" formatCode="_ * #,##0.0_ ;_ * \-#,##0.0_ ;_ * &quot;-&quot;??_ ;_ @_ ">
                  <c:v>28.6</c:v>
                </c:pt>
                <c:pt idx="511" formatCode="_ * #,##0.0_ ;_ * \-#,##0.0_ ;_ * &quot;-&quot;??_ ;_ @_ ">
                  <c:v>28.6</c:v>
                </c:pt>
                <c:pt idx="512" formatCode="_ * #,##0.0_ ;_ * \-#,##0.0_ ;_ * &quot;-&quot;??_ ;_ @_ ">
                  <c:v>28.7</c:v>
                </c:pt>
                <c:pt idx="513" formatCode="_ * #,##0.0_ ;_ * \-#,##0.0_ ;_ * &quot;-&quot;??_ ;_ @_ ">
                  <c:v>28.8</c:v>
                </c:pt>
                <c:pt idx="514" formatCode="_ * #,##0.0_ ;_ * \-#,##0.0_ ;_ * &quot;-&quot;??_ ;_ @_ ">
                  <c:v>28.7</c:v>
                </c:pt>
                <c:pt idx="515" formatCode="_ * #,##0.0_ ;_ * \-#,##0.0_ ;_ * &quot;-&quot;??_ ;_ @_ ">
                  <c:v>28.9</c:v>
                </c:pt>
                <c:pt idx="516" formatCode="_ * #,##0.0_ ;_ * \-#,##0.0_ ;_ * &quot;-&quot;??_ ;_ @_ ">
                  <c:v>28.9</c:v>
                </c:pt>
                <c:pt idx="517" formatCode="_ * #,##0.0_ ;_ * \-#,##0.0_ ;_ * &quot;-&quot;??_ ;_ @_ ">
                  <c:v>29</c:v>
                </c:pt>
                <c:pt idx="518" formatCode="_ * #,##0.0_ ;_ * \-#,##0.0_ ;_ * &quot;-&quot;??_ ;_ @_ ">
                  <c:v>29.7</c:v>
                </c:pt>
                <c:pt idx="519" formatCode="_ * #,##0.0_ ;_ * \-#,##0.0_ ;_ * &quot;-&quot;??_ ;_ @_ ">
                  <c:v>29.7</c:v>
                </c:pt>
                <c:pt idx="520" formatCode="_ * #,##0.0_ ;_ * \-#,##0.0_ ;_ * &quot;-&quot;??_ ;_ @_ ">
                  <c:v>29.2</c:v>
                </c:pt>
                <c:pt idx="521" formatCode="_ * #,##0.0_ ;_ * \-#,##0.0_ ;_ * &quot;-&quot;??_ ;_ @_ ">
                  <c:v>29.8</c:v>
                </c:pt>
                <c:pt idx="522" formatCode="_ * #,##0.0_ ;_ * \-#,##0.0_ ;_ * &quot;-&quot;??_ ;_ @_ ">
                  <c:v>30</c:v>
                </c:pt>
                <c:pt idx="523" formatCode="_ * #,##0.0_ ;_ * \-#,##0.0_ ;_ * &quot;-&quot;??_ ;_ @_ ">
                  <c:v>29.8</c:v>
                </c:pt>
                <c:pt idx="524" formatCode="_ * #,##0.0_ ;_ * \-#,##0.0_ ;_ * &quot;-&quot;??_ ;_ @_ ">
                  <c:v>30</c:v>
                </c:pt>
                <c:pt idx="525" formatCode="_ * #,##0.0_ ;_ * \-#,##0.0_ ;_ * &quot;-&quot;??_ ;_ @_ ">
                  <c:v>29.9</c:v>
                </c:pt>
                <c:pt idx="526" formatCode="_ * #,##0.0_ ;_ * \-#,##0.0_ ;_ * &quot;-&quot;??_ ;_ @_ ">
                  <c:v>29.5</c:v>
                </c:pt>
                <c:pt idx="527" formatCode="_ * #,##0.0_ ;_ * \-#,##0.0_ ;_ * &quot;-&quot;??_ ;_ @_ ">
                  <c:v>29.8</c:v>
                </c:pt>
                <c:pt idx="528" formatCode="_ * #,##0.0_ ;_ * \-#,##0.0_ ;_ * &quot;-&quot;??_ ;_ @_ ">
                  <c:v>30.1</c:v>
                </c:pt>
                <c:pt idx="529" formatCode="_ * #,##0.0_ ;_ * \-#,##0.0_ ;_ * &quot;-&quot;??_ ;_ @_ ">
                  <c:v>30</c:v>
                </c:pt>
                <c:pt idx="530" formatCode="_ * #,##0.0_ ;_ * \-#,##0.0_ ;_ * &quot;-&quot;??_ ;_ @_ ">
                  <c:v>29.2</c:v>
                </c:pt>
                <c:pt idx="531" formatCode="_ * #,##0.0_ ;_ * \-#,##0.0_ ;_ * &quot;-&quot;??_ ;_ @_ ">
                  <c:v>29.8</c:v>
                </c:pt>
                <c:pt idx="532" formatCode="_ * #,##0.0_ ;_ * \-#,##0.0_ ;_ * &quot;-&quot;??_ ;_ @_ ">
                  <c:v>29.6</c:v>
                </c:pt>
                <c:pt idx="533" formatCode="_ * #,##0.0_ ;_ * \-#,##0.0_ ;_ * &quot;-&quot;??_ ;_ @_ ">
                  <c:v>29.7</c:v>
                </c:pt>
                <c:pt idx="534" formatCode="_ * #,##0.0_ ;_ * \-#,##0.0_ ;_ * &quot;-&quot;??_ ;_ @_ ">
                  <c:v>29.1</c:v>
                </c:pt>
                <c:pt idx="535" formatCode="_ * #,##0.0_ ;_ * \-#,##0.0_ ;_ * &quot;-&quot;??_ ;_ @_ ">
                  <c:v>28.9</c:v>
                </c:pt>
                <c:pt idx="536" formatCode="_ * #,##0.0_ ;_ * \-#,##0.0_ ;_ * &quot;-&quot;??_ ;_ @_ ">
                  <c:v>28.8</c:v>
                </c:pt>
                <c:pt idx="537" formatCode="_ * #,##0.0_ ;_ * \-#,##0.0_ ;_ * &quot;-&quot;??_ ;_ @_ ">
                  <c:v>28.2</c:v>
                </c:pt>
                <c:pt idx="538" formatCode="_ * #,##0.0_ ;_ * \-#,##0.0_ ;_ * &quot;-&quot;??_ ;_ @_ ">
                  <c:v>27.7</c:v>
                </c:pt>
                <c:pt idx="539" formatCode="_ * #,##0.0_ ;_ * \-#,##0.0_ ;_ * &quot;-&quot;??_ ;_ @_ ">
                  <c:v>28</c:v>
                </c:pt>
                <c:pt idx="540" formatCode="_ * #,##0.0_ ;_ * \-#,##0.0_ ;_ * &quot;-&quot;??_ ;_ @_ ">
                  <c:v>28</c:v>
                </c:pt>
                <c:pt idx="541" formatCode="_ * #,##0.0_ ;_ * \-#,##0.0_ ;_ * &quot;-&quot;??_ ;_ @_ ">
                  <c:v>27.7</c:v>
                </c:pt>
                <c:pt idx="542" formatCode="_ * #,##0.0_ ;_ * \-#,##0.0_ ;_ * &quot;-&quot;??_ ;_ @_ ">
                  <c:v>28</c:v>
                </c:pt>
                <c:pt idx="543" formatCode="_ * #,##0.0_ ;_ * \-#,##0.0_ ;_ * &quot;-&quot;??_ ;_ @_ ">
                  <c:v>27.8</c:v>
                </c:pt>
                <c:pt idx="544" formatCode="_ * #,##0.0_ ;_ * \-#,##0.0_ ;_ * &quot;-&quot;??_ ;_ @_ ">
                  <c:v>27.6</c:v>
                </c:pt>
                <c:pt idx="545" formatCode="_ * #,##0.0_ ;_ * \-#,##0.0_ ;_ * &quot;-&quot;??_ ;_ @_ ">
                  <c:v>27.6</c:v>
                </c:pt>
                <c:pt idx="546" formatCode="_ * #,##0.0_ ;_ * \-#,##0.0_ ;_ * &quot;-&quot;??_ ;_ @_ ">
                  <c:v>27.6</c:v>
                </c:pt>
                <c:pt idx="547" formatCode="_ * #,##0.0_ ;_ * \-#,##0.0_ ;_ * &quot;-&quot;??_ ;_ @_ ">
                  <c:v>27.6</c:v>
                </c:pt>
                <c:pt idx="548" formatCode="_ * #,##0.0_ ;_ * \-#,##0.0_ ;_ * &quot;-&quot;??_ ;_ @_ ">
                  <c:v>27.8</c:v>
                </c:pt>
                <c:pt idx="549" formatCode="_ * #,##0.0_ ;_ * \-#,##0.0_ ;_ * &quot;-&quot;??_ ;_ @_ ">
                  <c:v>27.8</c:v>
                </c:pt>
                <c:pt idx="550" formatCode="_ * #,##0.0_ ;_ * \-#,##0.0_ ;_ * &quot;-&quot;??_ ;_ @_ ">
                  <c:v>27.7</c:v>
                </c:pt>
                <c:pt idx="551" formatCode="_ * #,##0.0_ ;_ * \-#,##0.0_ ;_ * &quot;-&quot;??_ ;_ @_ ">
                  <c:v>27.8</c:v>
                </c:pt>
                <c:pt idx="552" formatCode="_ * #,##0.0_ ;_ * \-#,##0.0_ ;_ * &quot;-&quot;??_ ;_ @_ ">
                  <c:v>27.8</c:v>
                </c:pt>
                <c:pt idx="553" formatCode="_ * #,##0.0_ ;_ * \-#,##0.0_ ;_ * &quot;-&quot;??_ ;_ @_ ">
                  <c:v>27.6</c:v>
                </c:pt>
                <c:pt idx="554" formatCode="_ * #,##0.0_ ;_ * \-#,##0.0_ ;_ * &quot;-&quot;??_ ;_ @_ ">
                  <c:v>27.3</c:v>
                </c:pt>
                <c:pt idx="555" formatCode="_ * #,##0.0_ ;_ * \-#,##0.0_ ;_ * &quot;-&quot;??_ ;_ @_ ">
                  <c:v>27.1</c:v>
                </c:pt>
                <c:pt idx="556" formatCode="_ * #,##0.0_ ;_ * \-#,##0.0_ ;_ * &quot;-&quot;??_ ;_ @_ ">
                  <c:v>27.4</c:v>
                </c:pt>
                <c:pt idx="557" formatCode="_ * #,##0.0_ ;_ * \-#,##0.0_ ;_ * &quot;-&quot;??_ ;_ @_ ">
                  <c:v>27.4</c:v>
                </c:pt>
                <c:pt idx="558" formatCode="_ * #,##0.0_ ;_ * \-#,##0.0_ ;_ * &quot;-&quot;??_ ;_ @_ ">
                  <c:v>27.5</c:v>
                </c:pt>
                <c:pt idx="559" formatCode="_ * #,##0.0_ ;_ * \-#,##0.0_ ;_ * &quot;-&quot;??_ ;_ @_ ">
                  <c:v>27.5</c:v>
                </c:pt>
                <c:pt idx="560" formatCode="_ * #,##0.0_ ;_ * \-#,##0.0_ ;_ * &quot;-&quot;??_ ;_ @_ ">
                  <c:v>27.5</c:v>
                </c:pt>
                <c:pt idx="561" formatCode="_ * #,##0.0_ ;_ * \-#,##0.0_ ;_ * &quot;-&quot;??_ ;_ @_ ">
                  <c:v>27.5</c:v>
                </c:pt>
                <c:pt idx="562" formatCode="_ * #,##0.0_ ;_ * \-#,##0.0_ ;_ * &quot;-&quot;??_ ;_ @_ ">
                  <c:v>27.2</c:v>
                </c:pt>
                <c:pt idx="563" formatCode="_ * #,##0.0_ ;_ * \-#,##0.0_ ;_ * &quot;-&quot;??_ ;_ @_ ">
                  <c:v>27.5</c:v>
                </c:pt>
                <c:pt idx="564" formatCode="_ * #,##0.0_ ;_ * \-#,##0.0_ ;_ * &quot;-&quot;??_ ;_ @_ ">
                  <c:v>27.5</c:v>
                </c:pt>
                <c:pt idx="565" formatCode="_ * #,##0.0_ ;_ * \-#,##0.0_ ;_ * &quot;-&quot;??_ ;_ @_ ">
                  <c:v>26.9</c:v>
                </c:pt>
                <c:pt idx="566" formatCode="_ * #,##0.0_ ;_ * \-#,##0.0_ ;_ * &quot;-&quot;??_ ;_ @_ ">
                  <c:v>27.5</c:v>
                </c:pt>
                <c:pt idx="567" formatCode="_ * #,##0.0_ ;_ * \-#,##0.0_ ;_ * &quot;-&quot;??_ ;_ @_ ">
                  <c:v>27.7</c:v>
                </c:pt>
                <c:pt idx="568" formatCode="_ * #,##0.0_ ;_ * \-#,##0.0_ ;_ * &quot;-&quot;??_ ;_ @_ ">
                  <c:v>27.7</c:v>
                </c:pt>
                <c:pt idx="569" formatCode="_ * #,##0.0_ ;_ * \-#,##0.0_ ;_ * &quot;-&quot;??_ ;_ @_ ">
                  <c:v>27.7</c:v>
                </c:pt>
                <c:pt idx="570" formatCode="_ * #,##0.0_ ;_ * \-#,##0.0_ ;_ * &quot;-&quot;??_ ;_ @_ ">
                  <c:v>27.5</c:v>
                </c:pt>
                <c:pt idx="571" formatCode="_ * #,##0.0_ ;_ * \-#,##0.0_ ;_ * &quot;-&quot;??_ ;_ @_ ">
                  <c:v>27.1</c:v>
                </c:pt>
                <c:pt idx="572" formatCode="_ * #,##0.0_ ;_ * \-#,##0.0_ ;_ * &quot;-&quot;??_ ;_ @_ ">
                  <c:v>27.5</c:v>
                </c:pt>
                <c:pt idx="573" formatCode="_ * #,##0.0_ ;_ * \-#,##0.0_ ;_ * &quot;-&quot;??_ ;_ @_ ">
                  <c:v>26.8</c:v>
                </c:pt>
                <c:pt idx="574" formatCode="_ * #,##0.0_ ;_ * \-#,##0.0_ ;_ * &quot;-&quot;??_ ;_ @_ ">
                  <c:v>27.2</c:v>
                </c:pt>
                <c:pt idx="575" formatCode="_ * #,##0.0_ ;_ * \-#,##0.0_ ;_ * &quot;-&quot;??_ ;_ @_ ">
                  <c:v>27.2</c:v>
                </c:pt>
                <c:pt idx="576" formatCode="_ * #,##0.0_ ;_ * \-#,##0.0_ ;_ * &quot;-&quot;??_ ;_ @_ ">
                  <c:v>27.1</c:v>
                </c:pt>
                <c:pt idx="577" formatCode="_ * #,##0.0_ ;_ * \-#,##0.0_ ;_ * &quot;-&quot;??_ ;_ @_ ">
                  <c:v>27.1</c:v>
                </c:pt>
                <c:pt idx="578" formatCode="_ * #,##0.0_ ;_ * \-#,##0.0_ ;_ * &quot;-&quot;??_ ;_ @_ ">
                  <c:v>26.9</c:v>
                </c:pt>
                <c:pt idx="579" formatCode="_ * #,##0.0_ ;_ * \-#,##0.0_ ;_ * &quot;-&quot;??_ ;_ @_ ">
                  <c:v>26.9</c:v>
                </c:pt>
                <c:pt idx="580" formatCode="_ * #,##0.0_ ;_ * \-#,##0.0_ ;_ * &quot;-&quot;??_ ;_ @_ ">
                  <c:v>27.2</c:v>
                </c:pt>
                <c:pt idx="581" formatCode="_ * #,##0.0_ ;_ * \-#,##0.0_ ;_ * &quot;-&quot;??_ ;_ @_ ">
                  <c:v>27.1</c:v>
                </c:pt>
                <c:pt idx="582" formatCode="_ * #,##0.0_ ;_ * \-#,##0.0_ ;_ * &quot;-&quot;??_ ;_ @_ ">
                  <c:v>27.5</c:v>
                </c:pt>
                <c:pt idx="583" formatCode="_ * #,##0.0_ ;_ * \-#,##0.0_ ;_ * &quot;-&quot;??_ ;_ @_ ">
                  <c:v>27.7</c:v>
                </c:pt>
                <c:pt idx="584" formatCode="_ * #,##0.0_ ;_ * \-#,##0.0_ ;_ * &quot;-&quot;??_ ;_ @_ ">
                  <c:v>26.6</c:v>
                </c:pt>
                <c:pt idx="585" formatCode="_ * #,##0.0_ ;_ * \-#,##0.0_ ;_ * &quot;-&quot;??_ ;_ @_ ">
                  <c:v>26.7</c:v>
                </c:pt>
                <c:pt idx="586" formatCode="_ * #,##0.0_ ;_ * \-#,##0.0_ ;_ * &quot;-&quot;??_ ;_ @_ ">
                  <c:v>26</c:v>
                </c:pt>
                <c:pt idx="587" formatCode="_ * #,##0.0_ ;_ * \-#,##0.0_ ;_ * &quot;-&quot;??_ ;_ @_ ">
                  <c:v>26</c:v>
                </c:pt>
                <c:pt idx="588" formatCode="_ * #,##0.0_ ;_ * \-#,##0.0_ ;_ * &quot;-&quot;??_ ;_ @_ ">
                  <c:v>25.4</c:v>
                </c:pt>
                <c:pt idx="589" formatCode="_ * #,##0.0_ ;_ * \-#,##0.0_ ;_ * &quot;-&quot;??_ ;_ @_ ">
                  <c:v>25.2</c:v>
                </c:pt>
                <c:pt idx="590" formatCode="_ * #,##0.0_ ;_ * \-#,##0.0_ ;_ * &quot;-&quot;??_ ;_ @_ ">
                  <c:v>25.2</c:v>
                </c:pt>
                <c:pt idx="591" formatCode="_ * #,##0.0_ ;_ * \-#,##0.0_ ;_ * &quot;-&quot;??_ ;_ @_ ">
                  <c:v>26</c:v>
                </c:pt>
                <c:pt idx="592" formatCode="_ * #,##0.0_ ;_ * \-#,##0.0_ ;_ * &quot;-&quot;??_ ;_ @_ ">
                  <c:v>25</c:v>
                </c:pt>
                <c:pt idx="593" formatCode="_ * #,##0.0_ ;_ * \-#,##0.0_ ;_ * &quot;-&quot;??_ ;_ @_ ">
                  <c:v>25</c:v>
                </c:pt>
                <c:pt idx="594" formatCode="_ * #,##0.0_ ;_ * \-#,##0.0_ ;_ * &quot;-&quot;??_ ;_ @_ ">
                  <c:v>25.4</c:v>
                </c:pt>
                <c:pt idx="595" formatCode="_ * #,##0.0_ ;_ * \-#,##0.0_ ;_ * &quot;-&quot;??_ ;_ @_ ">
                  <c:v>25.6</c:v>
                </c:pt>
                <c:pt idx="596" formatCode="_ * #,##0.0_ ;_ * \-#,##0.0_ ;_ * &quot;-&quot;??_ ;_ @_ ">
                  <c:v>24.2</c:v>
                </c:pt>
                <c:pt idx="597" formatCode="_ * #,##0.0_ ;_ * \-#,##0.0_ ;_ * &quot;-&quot;??_ ;_ @_ ">
                  <c:v>24.2</c:v>
                </c:pt>
                <c:pt idx="598" formatCode="_ * #,##0.0_ ;_ * \-#,##0.0_ ;_ * &quot;-&quot;??_ ;_ @_ ">
                  <c:v>24.2</c:v>
                </c:pt>
                <c:pt idx="599" formatCode="_ * #,##0.0_ ;_ * \-#,##0.0_ ;_ * &quot;-&quot;??_ ;_ @_ ">
                  <c:v>24.1</c:v>
                </c:pt>
                <c:pt idx="600" formatCode="_ * #,##0.0_ ;_ * \-#,##0.0_ ;_ * &quot;-&quot;??_ ;_ @_ ">
                  <c:v>24.5</c:v>
                </c:pt>
                <c:pt idx="601" formatCode="_ * #,##0.0_ ;_ * \-#,##0.0_ ;_ * &quot;-&quot;??_ ;_ @_ ">
                  <c:v>23</c:v>
                </c:pt>
                <c:pt idx="602" formatCode="_ * #,##0.0_ ;_ * \-#,##0.0_ ;_ * &quot;-&quot;??_ ;_ @_ ">
                  <c:v>22.8</c:v>
                </c:pt>
                <c:pt idx="603" formatCode="_ * #,##0.0_ ;_ * \-#,##0.0_ ;_ * &quot;-&quot;??_ ;_ @_ ">
                  <c:v>23</c:v>
                </c:pt>
                <c:pt idx="604" formatCode="_ * #,##0.0_ ;_ * \-#,##0.0_ ;_ * &quot;-&quot;??_ ;_ @_ ">
                  <c:v>22.9</c:v>
                </c:pt>
                <c:pt idx="605" formatCode="_ * #,##0.0_ ;_ * \-#,##0.0_ ;_ * &quot;-&quot;??_ ;_ @_ ">
                  <c:v>22.6</c:v>
                </c:pt>
                <c:pt idx="606" formatCode="_ * #,##0.0_ ;_ * \-#,##0.0_ ;_ * &quot;-&quot;??_ ;_ @_ ">
                  <c:v>22.8</c:v>
                </c:pt>
                <c:pt idx="607" formatCode="_ * #,##0.0_ ;_ * \-#,##0.0_ ;_ * &quot;-&quot;??_ ;_ @_ ">
                  <c:v>22.4</c:v>
                </c:pt>
                <c:pt idx="608" formatCode="_ * #,##0.0_ ;_ * \-#,##0.0_ ;_ * &quot;-&quot;??_ ;_ @_ ">
                  <c:v>22.9</c:v>
                </c:pt>
                <c:pt idx="609" formatCode="_ * #,##0.0_ ;_ * \-#,##0.0_ ;_ * &quot;-&quot;??_ ;_ @_ ">
                  <c:v>22.8</c:v>
                </c:pt>
                <c:pt idx="610" formatCode="_ * #,##0.0_ ;_ * \-#,##0.0_ ;_ * &quot;-&quot;??_ ;_ @_ ">
                  <c:v>22.8</c:v>
                </c:pt>
                <c:pt idx="611" formatCode="_ * #,##0.0_ ;_ * \-#,##0.0_ ;_ * &quot;-&quot;??_ ;_ @_ ">
                  <c:v>22.4</c:v>
                </c:pt>
                <c:pt idx="612" formatCode="_ * #,##0.0_ ;_ * \-#,##0.0_ ;_ * &quot;-&quot;??_ ;_ @_ ">
                  <c:v>22.3</c:v>
                </c:pt>
                <c:pt idx="613" formatCode="_ * #,##0.0_ ;_ * \-#,##0.0_ ;_ * &quot;-&quot;??_ ;_ @_ ">
                  <c:v>22.2</c:v>
                </c:pt>
                <c:pt idx="614" formatCode="_ * #,##0.0_ ;_ * \-#,##0.0_ ;_ * &quot;-&quot;??_ ;_ @_ ">
                  <c:v>22.4</c:v>
                </c:pt>
                <c:pt idx="615" formatCode="_ * #,##0.0_ ;_ * \-#,##0.0_ ;_ * &quot;-&quot;??_ ;_ @_ ">
                  <c:v>22</c:v>
                </c:pt>
                <c:pt idx="616" formatCode="_ * #,##0.0_ ;_ * \-#,##0.0_ ;_ * &quot;-&quot;??_ ;_ @_ ">
                  <c:v>22</c:v>
                </c:pt>
                <c:pt idx="617" formatCode="_ * #,##0.0_ ;_ * \-#,##0.0_ ;_ * &quot;-&quot;??_ ;_ @_ ">
                  <c:v>22.3</c:v>
                </c:pt>
                <c:pt idx="618" formatCode="_ * #,##0.0_ ;_ * \-#,##0.0_ ;_ * &quot;-&quot;??_ ;_ @_ ">
                  <c:v>21.8</c:v>
                </c:pt>
                <c:pt idx="619" formatCode="_ * #,##0.0_ ;_ * \-#,##0.0_ ;_ * &quot;-&quot;??_ ;_ @_ ">
                  <c:v>21.3</c:v>
                </c:pt>
                <c:pt idx="620" formatCode="_ * #,##0.0_ ;_ * \-#,##0.0_ ;_ * &quot;-&quot;??_ ;_ @_ ">
                  <c:v>21.7</c:v>
                </c:pt>
                <c:pt idx="621" formatCode="_ * #,##0.0_ ;_ * \-#,##0.0_ ;_ * &quot;-&quot;??_ ;_ @_ ">
                  <c:v>21.5</c:v>
                </c:pt>
                <c:pt idx="622" formatCode="_ * #,##0.0_ ;_ * \-#,##0.0_ ;_ * &quot;-&quot;??_ ;_ @_ ">
                  <c:v>21.6</c:v>
                </c:pt>
                <c:pt idx="623" formatCode="_ * #,##0.0_ ;_ * \-#,##0.0_ ;_ * &quot;-&quot;??_ ;_ @_ ">
                  <c:v>21.6</c:v>
                </c:pt>
                <c:pt idx="624" formatCode="_ * #,##0.0_ ;_ * \-#,##0.0_ ;_ * &quot;-&quot;??_ ;_ @_ ">
                  <c:v>21.8</c:v>
                </c:pt>
                <c:pt idx="625" formatCode="_ * #,##0.0_ ;_ * \-#,##0.0_ ;_ * &quot;-&quot;??_ ;_ @_ ">
                  <c:v>21.8</c:v>
                </c:pt>
                <c:pt idx="626" formatCode="_ * #,##0.0_ ;_ * \-#,##0.0_ ;_ * &quot;-&quot;??_ ;_ @_ ">
                  <c:v>21.8</c:v>
                </c:pt>
                <c:pt idx="627" formatCode="_ * #,##0.0_ ;_ * \-#,##0.0_ ;_ * &quot;-&quot;??_ ;_ @_ ">
                  <c:v>22</c:v>
                </c:pt>
                <c:pt idx="628" formatCode="_ * #,##0.0_ ;_ * \-#,##0.0_ ;_ * &quot;-&quot;??_ ;_ @_ ">
                  <c:v>22.2</c:v>
                </c:pt>
                <c:pt idx="629" formatCode="_ * #,##0.0_ ;_ * \-#,##0.0_ ;_ * &quot;-&quot;??_ ;_ @_ ">
                  <c:v>22</c:v>
                </c:pt>
                <c:pt idx="630" formatCode="_ * #,##0.0_ ;_ * \-#,##0.0_ ;_ * &quot;-&quot;??_ ;_ @_ ">
                  <c:v>21.6</c:v>
                </c:pt>
                <c:pt idx="631" formatCode="_ * #,##0.0_ ;_ * \-#,##0.0_ ;_ * &quot;-&quot;??_ ;_ @_ ">
                  <c:v>21.5</c:v>
                </c:pt>
                <c:pt idx="632" formatCode="_ * #,##0.0_ ;_ * \-#,##0.0_ ;_ * &quot;-&quot;??_ ;_ @_ ">
                  <c:v>21.5</c:v>
                </c:pt>
                <c:pt idx="633" formatCode="_ * #,##0.0_ ;_ * \-#,##0.0_ ;_ * &quot;-&quot;??_ ;_ @_ ">
                  <c:v>21.5</c:v>
                </c:pt>
                <c:pt idx="634" formatCode="_ * #,##0.0_ ;_ * \-#,##0.0_ ;_ * &quot;-&quot;??_ ;_ @_ ">
                  <c:v>21.5</c:v>
                </c:pt>
                <c:pt idx="635" formatCode="_ * #,##0.0_ ;_ * \-#,##0.0_ ;_ * &quot;-&quot;??_ ;_ @_ ">
                  <c:v>21.5</c:v>
                </c:pt>
                <c:pt idx="636" formatCode="_ * #,##0.0_ ;_ * \-#,##0.0_ ;_ * &quot;-&quot;??_ ;_ @_ ">
                  <c:v>20.5</c:v>
                </c:pt>
                <c:pt idx="637" formatCode="_ * #,##0.0_ ;_ * \-#,##0.0_ ;_ * &quot;-&quot;??_ ;_ @_ ">
                  <c:v>20.3</c:v>
                </c:pt>
                <c:pt idx="638" formatCode="_ * #,##0.0_ ;_ * \-#,##0.0_ ;_ * &quot;-&quot;??_ ;_ @_ ">
                  <c:v>20.399999999999999</c:v>
                </c:pt>
                <c:pt idx="639" formatCode="_ * #,##0.0_ ;_ * \-#,##0.0_ ;_ * &quot;-&quot;??_ ;_ @_ ">
                  <c:v>20.399999999999999</c:v>
                </c:pt>
                <c:pt idx="640" formatCode="_ * #,##0.0_ ;_ * \-#,##0.0_ ;_ * &quot;-&quot;??_ ;_ @_ ">
                  <c:v>20.3</c:v>
                </c:pt>
                <c:pt idx="641" formatCode="_ * #,##0.0_ ;_ * \-#,##0.0_ ;_ * &quot;-&quot;??_ ;_ @_ ">
                  <c:v>20</c:v>
                </c:pt>
                <c:pt idx="642" formatCode="_ * #,##0.0_ ;_ * \-#,##0.0_ ;_ * &quot;-&quot;??_ ;_ @_ ">
                  <c:v>20</c:v>
                </c:pt>
                <c:pt idx="643" formatCode="_ * #,##0.0_ ;_ * \-#,##0.0_ ;_ * &quot;-&quot;??_ ;_ @_ ">
                  <c:v>20.5</c:v>
                </c:pt>
                <c:pt idx="644" formatCode="_ * #,##0.0_ ;_ * \-#,##0.0_ ;_ * &quot;-&quot;??_ ;_ @_ ">
                  <c:v>20.5</c:v>
                </c:pt>
                <c:pt idx="645" formatCode="_ * #,##0.0_ ;_ * \-#,##0.0_ ;_ * &quot;-&quot;??_ ;_ @_ ">
                  <c:v>20.3</c:v>
                </c:pt>
                <c:pt idx="646" formatCode="_ * #,##0.0_ ;_ * \-#,##0.0_ ;_ * &quot;-&quot;??_ ;_ @_ ">
                  <c:v>20.7</c:v>
                </c:pt>
                <c:pt idx="647" formatCode="_ * #,##0.0_ ;_ * \-#,##0.0_ ;_ * &quot;-&quot;??_ ;_ @_ ">
                  <c:v>20.6</c:v>
                </c:pt>
                <c:pt idx="648" formatCode="_ * #,##0.0_ ;_ * \-#,##0.0_ ;_ * &quot;-&quot;??_ ;_ @_ ">
                  <c:v>20.100000000000001</c:v>
                </c:pt>
                <c:pt idx="649" formatCode="_ * #,##0.0_ ;_ * \-#,##0.0_ ;_ * &quot;-&quot;??_ ;_ @_ ">
                  <c:v>20.2</c:v>
                </c:pt>
                <c:pt idx="650" formatCode="_ * #,##0.0_ ;_ * \-#,##0.0_ ;_ * &quot;-&quot;??_ ;_ @_ ">
                  <c:v>20.2</c:v>
                </c:pt>
                <c:pt idx="651" formatCode="_ * #,##0.0_ ;_ * \-#,##0.0_ ;_ * &quot;-&quot;??_ ;_ @_ ">
                  <c:v>20</c:v>
                </c:pt>
                <c:pt idx="652" formatCode="_ * #,##0.0_ ;_ * \-#,##0.0_ ;_ * &quot;-&quot;??_ ;_ @_ ">
                  <c:v>20</c:v>
                </c:pt>
                <c:pt idx="653" formatCode="_ * #,##0.0_ ;_ * \-#,##0.0_ ;_ * &quot;-&quot;??_ ;_ @_ ">
                  <c:v>20</c:v>
                </c:pt>
                <c:pt idx="654" formatCode="_ * #,##0.0_ ;_ * \-#,##0.0_ ;_ * &quot;-&quot;??_ ;_ @_ ">
                  <c:v>19.5</c:v>
                </c:pt>
                <c:pt idx="655" formatCode="_ * #,##0.0_ ;_ * \-#,##0.0_ ;_ * &quot;-&quot;??_ ;_ @_ ">
                  <c:v>19.5</c:v>
                </c:pt>
                <c:pt idx="656" formatCode="_ * #,##0.0_ ;_ * \-#,##0.0_ ;_ * &quot;-&quot;??_ ;_ @_ ">
                  <c:v>19.600000000000001</c:v>
                </c:pt>
                <c:pt idx="657" formatCode="_ * #,##0.0_ ;_ * \-#,##0.0_ ;_ * &quot;-&quot;??_ ;_ @_ ">
                  <c:v>19.7</c:v>
                </c:pt>
                <c:pt idx="658" formatCode="_ * #,##0.0_ ;_ * \-#,##0.0_ ;_ * &quot;-&quot;??_ ;_ @_ ">
                  <c:v>19.899999999999999</c:v>
                </c:pt>
                <c:pt idx="659" formatCode="_ * #,##0.0_ ;_ * \-#,##0.0_ ;_ * &quot;-&quot;??_ ;_ @_ ">
                  <c:v>19.5</c:v>
                </c:pt>
                <c:pt idx="660" formatCode="_ * #,##0.0_ ;_ * \-#,##0.0_ ;_ * &quot;-&quot;??_ ;_ @_ ">
                  <c:v>20</c:v>
                </c:pt>
                <c:pt idx="661" formatCode="_ * #,##0.0_ ;_ * \-#,##0.0_ ;_ * &quot;-&quot;??_ ;_ @_ ">
                  <c:v>20</c:v>
                </c:pt>
                <c:pt idx="662" formatCode="_ * #,##0.0_ ;_ * \-#,##0.0_ ;_ * &quot;-&quot;??_ ;_ @_ ">
                  <c:v>19.600000000000001</c:v>
                </c:pt>
                <c:pt idx="663" formatCode="_ * #,##0.0_ ;_ * \-#,##0.0_ ;_ * &quot;-&quot;??_ ;_ @_ ">
                  <c:v>20.3</c:v>
                </c:pt>
                <c:pt idx="664" formatCode="_ * #,##0.0_ ;_ * \-#,##0.0_ ;_ * &quot;-&quot;??_ ;_ @_ ">
                  <c:v>20.3</c:v>
                </c:pt>
                <c:pt idx="665" formatCode="_ * #,##0.0_ ;_ * \-#,##0.0_ ;_ * &quot;-&quot;??_ ;_ @_ ">
                  <c:v>20</c:v>
                </c:pt>
                <c:pt idx="666" formatCode="_ * #,##0.0_ ;_ * \-#,##0.0_ ;_ * &quot;-&quot;??_ ;_ @_ ">
                  <c:v>20</c:v>
                </c:pt>
                <c:pt idx="667" formatCode="_ * #,##0.0_ ;_ * \-#,##0.0_ ;_ * &quot;-&quot;??_ ;_ @_ ">
                  <c:v>19.5</c:v>
                </c:pt>
                <c:pt idx="668" formatCode="_ * #,##0.0_ ;_ * \-#,##0.0_ ;_ * &quot;-&quot;??_ ;_ @_ ">
                  <c:v>19.5</c:v>
                </c:pt>
                <c:pt idx="669" formatCode="_ * #,##0.0_ ;_ * \-#,##0.0_ ;_ * &quot;-&quot;??_ ;_ @_ ">
                  <c:v>19.2</c:v>
                </c:pt>
                <c:pt idx="670" formatCode="_ * #,##0.0_ ;_ * \-#,##0.0_ ;_ * &quot;-&quot;??_ ;_ @_ ">
                  <c:v>18.7</c:v>
                </c:pt>
                <c:pt idx="671" formatCode="_ * #,##0.0_ ;_ * \-#,##0.0_ ;_ * &quot;-&quot;??_ ;_ @_ ">
                  <c:v>18.600000000000001</c:v>
                </c:pt>
                <c:pt idx="672" formatCode="_ * #,##0.0_ ;_ * \-#,##0.0_ ;_ * &quot;-&quot;??_ ;_ @_ ">
                  <c:v>18.600000000000001</c:v>
                </c:pt>
                <c:pt idx="673" formatCode="_ * #,##0.0_ ;_ * \-#,##0.0_ ;_ * &quot;-&quot;??_ ;_ @_ ">
                  <c:v>18.600000000000001</c:v>
                </c:pt>
                <c:pt idx="674" formatCode="_ * #,##0.0_ ;_ * \-#,##0.0_ ;_ * &quot;-&quot;??_ ;_ @_ ">
                  <c:v>18.899999999999999</c:v>
                </c:pt>
                <c:pt idx="675" formatCode="_ * #,##0.0_ ;_ * \-#,##0.0_ ;_ * &quot;-&quot;??_ ;_ @_ ">
                  <c:v>18.2</c:v>
                </c:pt>
                <c:pt idx="676" formatCode="_ * #,##0.0_ ;_ * \-#,##0.0_ ;_ * &quot;-&quot;??_ ;_ @_ ">
                  <c:v>18.2</c:v>
                </c:pt>
                <c:pt idx="677" formatCode="_ * #,##0.0_ ;_ * \-#,##0.0_ ;_ * &quot;-&quot;??_ ;_ @_ ">
                  <c:v>18</c:v>
                </c:pt>
                <c:pt idx="678" formatCode="_ * #,##0.0_ ;_ * \-#,##0.0_ ;_ * &quot;-&quot;??_ ;_ @_ ">
                  <c:v>18.3</c:v>
                </c:pt>
                <c:pt idx="679" formatCode="_ * #,##0.0_ ;_ * \-#,##0.0_ ;_ * &quot;-&quot;??_ ;_ @_ ">
                  <c:v>18.3</c:v>
                </c:pt>
                <c:pt idx="680" formatCode="_ * #,##0.0_ ;_ * \-#,##0.0_ ;_ * &quot;-&quot;??_ ;_ @_ ">
                  <c:v>18.3</c:v>
                </c:pt>
                <c:pt idx="681" formatCode="_ * #,##0.0_ ;_ * \-#,##0.0_ ;_ * &quot;-&quot;??_ ;_ @_ ">
                  <c:v>18.3</c:v>
                </c:pt>
                <c:pt idx="682" formatCode="_ * #,##0.0_ ;_ * \-#,##0.0_ ;_ * &quot;-&quot;??_ ;_ @_ ">
                  <c:v>18</c:v>
                </c:pt>
                <c:pt idx="683" formatCode="_ * #,##0.0_ ;_ * \-#,##0.0_ ;_ * &quot;-&quot;??_ ;_ @_ ">
                  <c:v>17.600000000000001</c:v>
                </c:pt>
                <c:pt idx="684" formatCode="_ * #,##0.0_ ;_ * \-#,##0.0_ ;_ * &quot;-&quot;??_ ;_ @_ ">
                  <c:v>18</c:v>
                </c:pt>
                <c:pt idx="685" formatCode="_ * #,##0.0_ ;_ * \-#,##0.0_ ;_ * &quot;-&quot;??_ ;_ @_ ">
                  <c:v>17.600000000000001</c:v>
                </c:pt>
                <c:pt idx="686" formatCode="_ * #,##0.0_ ;_ * \-#,##0.0_ ;_ * &quot;-&quot;??_ ;_ @_ ">
                  <c:v>17.600000000000001</c:v>
                </c:pt>
                <c:pt idx="687" formatCode="_ * #,##0.0_ ;_ * \-#,##0.0_ ;_ * &quot;-&quot;??_ ;_ @_ ">
                  <c:v>17.5</c:v>
                </c:pt>
                <c:pt idx="688" formatCode="_ * #,##0.0_ ;_ * \-#,##0.0_ ;_ * &quot;-&quot;??_ ;_ @_ ">
                  <c:v>17.5</c:v>
                </c:pt>
                <c:pt idx="689" formatCode="_ * #,##0.0_ ;_ * \-#,##0.0_ ;_ * &quot;-&quot;??_ ;_ @_ ">
                  <c:v>17.5</c:v>
                </c:pt>
                <c:pt idx="690" formatCode="_ * #,##0.0_ ;_ * \-#,##0.0_ ;_ * &quot;-&quot;??_ ;_ @_ ">
                  <c:v>17.5</c:v>
                </c:pt>
                <c:pt idx="691" formatCode="_ * #,##0.0_ ;_ * \-#,##0.0_ ;_ * &quot;-&quot;??_ ;_ @_ ">
                  <c:v>17.8</c:v>
                </c:pt>
                <c:pt idx="692" formatCode="_ * #,##0.0_ ;_ * \-#,##0.0_ ;_ * &quot;-&quot;??_ ;_ @_ ">
                  <c:v>17.899999999999999</c:v>
                </c:pt>
                <c:pt idx="693" formatCode="_ * #,##0.0_ ;_ * \-#,##0.0_ ;_ * &quot;-&quot;??_ ;_ @_ ">
                  <c:v>17.8</c:v>
                </c:pt>
                <c:pt idx="694" formatCode="_ * #,##0.0_ ;_ * \-#,##0.0_ ;_ * &quot;-&quot;??_ ;_ @_ ">
                  <c:v>18</c:v>
                </c:pt>
                <c:pt idx="695" formatCode="_ * #,##0.0_ ;_ * \-#,##0.0_ ;_ * &quot;-&quot;??_ ;_ @_ ">
                  <c:v>17.600000000000001</c:v>
                </c:pt>
                <c:pt idx="696" formatCode="_ * #,##0.0_ ;_ * \-#,##0.0_ ;_ * &quot;-&quot;??_ ;_ @_ ">
                  <c:v>17.2</c:v>
                </c:pt>
                <c:pt idx="697" formatCode="_ * #,##0.0_ ;_ * \-#,##0.0_ ;_ * &quot;-&quot;??_ ;_ @_ ">
                  <c:v>17.5</c:v>
                </c:pt>
                <c:pt idx="698" formatCode="_ * #,##0.0_ ;_ * \-#,##0.0_ ;_ * &quot;-&quot;??_ ;_ @_ ">
                  <c:v>17.5</c:v>
                </c:pt>
                <c:pt idx="699" formatCode="_ * #,##0.0_ ;_ * \-#,##0.0_ ;_ * &quot;-&quot;??_ ;_ @_ ">
                  <c:v>17.399999999999999</c:v>
                </c:pt>
                <c:pt idx="700" formatCode="_ * #,##0.0_ ;_ * \-#,##0.0_ ;_ * &quot;-&quot;??_ ;_ @_ ">
                  <c:v>17.3</c:v>
                </c:pt>
                <c:pt idx="701" formatCode="_ * #,##0.0_ ;_ * \-#,##0.0_ ;_ * &quot;-&quot;??_ ;_ @_ ">
                  <c:v>17.600000000000001</c:v>
                </c:pt>
                <c:pt idx="702" formatCode="_ * #,##0.0_ ;_ * \-#,##0.0_ ;_ * &quot;-&quot;??_ ;_ @_ ">
                  <c:v>17.3</c:v>
                </c:pt>
                <c:pt idx="703" formatCode="_ * #,##0.0_ ;_ * \-#,##0.0_ ;_ * &quot;-&quot;??_ ;_ @_ ">
                  <c:v>17</c:v>
                </c:pt>
                <c:pt idx="704" formatCode="_ * #,##0.0_ ;_ * \-#,##0.0_ ;_ * &quot;-&quot;??_ ;_ @_ ">
                  <c:v>17</c:v>
                </c:pt>
                <c:pt idx="705" formatCode="_ * #,##0.0_ ;_ * \-#,##0.0_ ;_ * &quot;-&quot;??_ ;_ @_ ">
                  <c:v>17</c:v>
                </c:pt>
                <c:pt idx="706" formatCode="_ * #,##0.0_ ;_ * \-#,##0.0_ ;_ * &quot;-&quot;??_ ;_ @_ ">
                  <c:v>16.899999999999999</c:v>
                </c:pt>
                <c:pt idx="707" formatCode="_ * #,##0.0_ ;_ * \-#,##0.0_ ;_ * &quot;-&quot;??_ ;_ @_ ">
                  <c:v>16.899999999999999</c:v>
                </c:pt>
                <c:pt idx="708" formatCode="_ * #,##0.0_ ;_ * \-#,##0.0_ ;_ * &quot;-&quot;??_ ;_ @_ ">
                  <c:v>16.899999999999999</c:v>
                </c:pt>
                <c:pt idx="709" formatCode="_ * #,##0.0_ ;_ * \-#,##0.0_ ;_ * &quot;-&quot;??_ ;_ @_ ">
                  <c:v>16.899999999999999</c:v>
                </c:pt>
                <c:pt idx="710" formatCode="_ * #,##0.0_ ;_ * \-#,##0.0_ ;_ * &quot;-&quot;??_ ;_ @_ ">
                  <c:v>17.2</c:v>
                </c:pt>
                <c:pt idx="711" formatCode="_ * #,##0.0_ ;_ * \-#,##0.0_ ;_ * &quot;-&quot;??_ ;_ @_ ">
                  <c:v>17.100000000000001</c:v>
                </c:pt>
                <c:pt idx="712" formatCode="_ * #,##0.0_ ;_ * \-#,##0.0_ ;_ * &quot;-&quot;??_ ;_ @_ ">
                  <c:v>17.3</c:v>
                </c:pt>
                <c:pt idx="713" formatCode="_ * #,##0.0_ ;_ * \-#,##0.0_ ;_ * &quot;-&quot;??_ ;_ @_ ">
                  <c:v>17</c:v>
                </c:pt>
                <c:pt idx="714" formatCode="_ * #,##0.0_ ;_ * \-#,##0.0_ ;_ * &quot;-&quot;??_ ;_ @_ ">
                  <c:v>17.399999999999999</c:v>
                </c:pt>
                <c:pt idx="715" formatCode="_ * #,##0.0_ ;_ * \-#,##0.0_ ;_ * &quot;-&quot;??_ ;_ @_ ">
                  <c:v>17.3</c:v>
                </c:pt>
                <c:pt idx="716" formatCode="_ * #,##0.0_ ;_ * \-#,##0.0_ ;_ * &quot;-&quot;??_ ;_ @_ ">
                  <c:v>17.100000000000001</c:v>
                </c:pt>
                <c:pt idx="717" formatCode="_ * #,##0.0_ ;_ * \-#,##0.0_ ;_ * &quot;-&quot;??_ ;_ @_ ">
                  <c:v>17.100000000000001</c:v>
                </c:pt>
                <c:pt idx="718" formatCode="_ * #,##0.0_ ;_ * \-#,##0.0_ ;_ * &quot;-&quot;??_ ;_ @_ ">
                  <c:v>17</c:v>
                </c:pt>
                <c:pt idx="719" formatCode="_ * #,##0.0_ ;_ * \-#,##0.0_ ;_ * &quot;-&quot;??_ ;_ @_ ">
                  <c:v>17.2</c:v>
                </c:pt>
                <c:pt idx="720" formatCode="_ * #,##0.0_ ;_ * \-#,##0.0_ ;_ * &quot;-&quot;??_ ;_ @_ ">
                  <c:v>17</c:v>
                </c:pt>
                <c:pt idx="721" formatCode="_ * #,##0.0_ ;_ * \-#,##0.0_ ;_ * &quot;-&quot;??_ ;_ @_ ">
                  <c:v>17</c:v>
                </c:pt>
                <c:pt idx="722" formatCode="_ * #,##0.0_ ;_ * \-#,##0.0_ ;_ * &quot;-&quot;??_ ;_ @_ ">
                  <c:v>17</c:v>
                </c:pt>
                <c:pt idx="723" formatCode="_ * #,##0.0_ ;_ * \-#,##0.0_ ;_ * &quot;-&quot;??_ ;_ @_ ">
                  <c:v>17.399999999999999</c:v>
                </c:pt>
                <c:pt idx="724" formatCode="_ * #,##0.0_ ;_ * \-#,##0.0_ ;_ * &quot;-&quot;??_ ;_ @_ ">
                  <c:v>17.3</c:v>
                </c:pt>
                <c:pt idx="725" formatCode="_ * #,##0.0_ ;_ * \-#,##0.0_ ;_ * &quot;-&quot;??_ ;_ @_ ">
                  <c:v>17.5</c:v>
                </c:pt>
                <c:pt idx="726" formatCode="_ * #,##0.0_ ;_ * \-#,##0.0_ ;_ * &quot;-&quot;??_ ;_ @_ ">
                  <c:v>17.5</c:v>
                </c:pt>
                <c:pt idx="727" formatCode="_ * #,##0.0_ ;_ * \-#,##0.0_ ;_ * &quot;-&quot;??_ ;_ @_ ">
                  <c:v>17.5</c:v>
                </c:pt>
                <c:pt idx="728" formatCode="_ * #,##0.0_ ;_ * \-#,##0.0_ ;_ * &quot;-&quot;??_ ;_ @_ ">
                  <c:v>17.5</c:v>
                </c:pt>
                <c:pt idx="729" formatCode="_ * #,##0.0_ ;_ * \-#,##0.0_ ;_ * &quot;-&quot;??_ ;_ @_ ">
                  <c:v>17.600000000000001</c:v>
                </c:pt>
                <c:pt idx="730" formatCode="_ * #,##0.0_ ;_ * \-#,##0.0_ ;_ * &quot;-&quot;??_ ;_ @_ ">
                  <c:v>17.3</c:v>
                </c:pt>
                <c:pt idx="731" formatCode="_ * #,##0.0_ ;_ * \-#,##0.0_ ;_ * &quot;-&quot;??_ ;_ @_ ">
                  <c:v>17.3</c:v>
                </c:pt>
                <c:pt idx="732" formatCode="_ * #,##0.0_ ;_ * \-#,##0.0_ ;_ * &quot;-&quot;??_ ;_ @_ ">
                  <c:v>18</c:v>
                </c:pt>
                <c:pt idx="733" formatCode="_ * #,##0.0_ ;_ * \-#,##0.0_ ;_ * &quot;-&quot;??_ ;_ @_ ">
                  <c:v>18</c:v>
                </c:pt>
                <c:pt idx="734" formatCode="_ * #,##0.0_ ;_ * \-#,##0.0_ ;_ * &quot;-&quot;??_ ;_ @_ ">
                  <c:v>17.8</c:v>
                </c:pt>
                <c:pt idx="735" formatCode="_ * #,##0.0_ ;_ * \-#,##0.0_ ;_ * &quot;-&quot;??_ ;_ @_ ">
                  <c:v>18.100000000000001</c:v>
                </c:pt>
                <c:pt idx="736" formatCode="_ * #,##0.0_ ;_ * \-#,##0.0_ ;_ * &quot;-&quot;??_ ;_ @_ ">
                  <c:v>18.100000000000001</c:v>
                </c:pt>
                <c:pt idx="737" formatCode="_ * #,##0.0_ ;_ * \-#,##0.0_ ;_ * &quot;-&quot;??_ ;_ @_ ">
                  <c:v>18.5</c:v>
                </c:pt>
                <c:pt idx="738" formatCode="_ * #,##0.0_ ;_ * \-#,##0.0_ ;_ * &quot;-&quot;??_ ;_ @_ ">
                  <c:v>18</c:v>
                </c:pt>
                <c:pt idx="739" formatCode="_ * #,##0.0_ ;_ * \-#,##0.0_ ;_ * &quot;-&quot;??_ ;_ @_ ">
                  <c:v>18</c:v>
                </c:pt>
                <c:pt idx="740" formatCode="_ * #,##0.0_ ;_ * \-#,##0.0_ ;_ * &quot;-&quot;??_ ;_ @_ ">
                  <c:v>18.2</c:v>
                </c:pt>
                <c:pt idx="741" formatCode="_ * #,##0.0_ ;_ * \-#,##0.0_ ;_ * &quot;-&quot;??_ ;_ @_ ">
                  <c:v>18.399999999999999</c:v>
                </c:pt>
                <c:pt idx="742" formatCode="_ * #,##0.0_ ;_ * \-#,##0.0_ ;_ * &quot;-&quot;??_ ;_ @_ ">
                  <c:v>18.2</c:v>
                </c:pt>
                <c:pt idx="743" formatCode="_ * #,##0.0_ ;_ * \-#,##0.0_ ;_ * &quot;-&quot;??_ ;_ @_ ">
                  <c:v>18.3</c:v>
                </c:pt>
                <c:pt idx="744" formatCode="_ * #,##0.0_ ;_ * \-#,##0.0_ ;_ * &quot;-&quot;??_ ;_ @_ ">
                  <c:v>18.3</c:v>
                </c:pt>
                <c:pt idx="745" formatCode="_ * #,##0.0_ ;_ * \-#,##0.0_ ;_ * &quot;-&quot;??_ ;_ @_ ">
                  <c:v>18.399999999999999</c:v>
                </c:pt>
                <c:pt idx="746" formatCode="_ * #,##0.0_ ;_ * \-#,##0.0_ ;_ * &quot;-&quot;??_ ;_ @_ ">
                  <c:v>18.600000000000001</c:v>
                </c:pt>
                <c:pt idx="747" formatCode="_ * #,##0.0_ ;_ * \-#,##0.0_ ;_ * &quot;-&quot;??_ ;_ @_ ">
                  <c:v>18.899999999999999</c:v>
                </c:pt>
                <c:pt idx="748" formatCode="_ * #,##0.0_ ;_ * \-#,##0.0_ ;_ * &quot;-&quot;??_ ;_ @_ ">
                  <c:v>18.8</c:v>
                </c:pt>
                <c:pt idx="749" formatCode="_ * #,##0.0_ ;_ * \-#,##0.0_ ;_ * &quot;-&quot;??_ ;_ @_ ">
                  <c:v>18.5</c:v>
                </c:pt>
                <c:pt idx="750" formatCode="_ * #,##0.0_ ;_ * \-#,##0.0_ ;_ * &quot;-&quot;??_ ;_ @_ ">
                  <c:v>18.2</c:v>
                </c:pt>
                <c:pt idx="751" formatCode="_ * #,##0.0_ ;_ * \-#,##0.0_ ;_ * &quot;-&quot;??_ ;_ @_ ">
                  <c:v>18.399999999999999</c:v>
                </c:pt>
                <c:pt idx="752" formatCode="_ * #,##0.0_ ;_ * \-#,##0.0_ ;_ * &quot;-&quot;??_ ;_ @_ ">
                  <c:v>18.100000000000001</c:v>
                </c:pt>
                <c:pt idx="753" formatCode="_ * #,##0.0_ ;_ * \-#,##0.0_ ;_ * &quot;-&quot;??_ ;_ @_ ">
                  <c:v>18.3</c:v>
                </c:pt>
                <c:pt idx="754" formatCode="_ * #,##0.0_ ;_ * \-#,##0.0_ ;_ * &quot;-&quot;??_ ;_ @_ ">
                  <c:v>18.2</c:v>
                </c:pt>
                <c:pt idx="755" formatCode="_ * #,##0.0_ ;_ * \-#,##0.0_ ;_ * &quot;-&quot;??_ ;_ @_ ">
                  <c:v>18.2</c:v>
                </c:pt>
                <c:pt idx="756" formatCode="_ * #,##0.0_ ;_ * \-#,##0.0_ ;_ * &quot;-&quot;??_ ;_ @_ ">
                  <c:v>18.2</c:v>
                </c:pt>
                <c:pt idx="757" formatCode="_ * #,##0.0_ ;_ * \-#,##0.0_ ;_ * &quot;-&quot;??_ ;_ @_ ">
                  <c:v>18.100000000000001</c:v>
                </c:pt>
                <c:pt idx="758" formatCode="_ * #,##0.0_ ;_ * \-#,##0.0_ ;_ * &quot;-&quot;??_ ;_ @_ ">
                  <c:v>18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2883944"/>
        <c:axId val="752879632"/>
      </c:areaChart>
      <c:lineChart>
        <c:grouping val="standar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OSEE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Ark1'!$A$2:$A$760</c:f>
              <c:numCache>
                <c:formatCode>dd\.mm\.yy</c:formatCode>
                <c:ptCount val="759"/>
                <c:pt idx="0">
                  <c:v>43556</c:v>
                </c:pt>
                <c:pt idx="1">
                  <c:v>43555</c:v>
                </c:pt>
                <c:pt idx="2">
                  <c:v>43554</c:v>
                </c:pt>
                <c:pt idx="3">
                  <c:v>43553</c:v>
                </c:pt>
                <c:pt idx="4">
                  <c:v>43552</c:v>
                </c:pt>
                <c:pt idx="5">
                  <c:v>43551</c:v>
                </c:pt>
                <c:pt idx="6">
                  <c:v>43550</c:v>
                </c:pt>
                <c:pt idx="7">
                  <c:v>43549</c:v>
                </c:pt>
                <c:pt idx="8">
                  <c:v>43546</c:v>
                </c:pt>
                <c:pt idx="9">
                  <c:v>43545</c:v>
                </c:pt>
                <c:pt idx="10">
                  <c:v>43544</c:v>
                </c:pt>
                <c:pt idx="11">
                  <c:v>43543</c:v>
                </c:pt>
                <c:pt idx="12">
                  <c:v>43542</c:v>
                </c:pt>
                <c:pt idx="13">
                  <c:v>43539</c:v>
                </c:pt>
                <c:pt idx="14">
                  <c:v>43538</c:v>
                </c:pt>
                <c:pt idx="15">
                  <c:v>43537</c:v>
                </c:pt>
                <c:pt idx="16">
                  <c:v>43536</c:v>
                </c:pt>
                <c:pt idx="17">
                  <c:v>43535</c:v>
                </c:pt>
                <c:pt idx="18">
                  <c:v>43532</c:v>
                </c:pt>
                <c:pt idx="19">
                  <c:v>43531</c:v>
                </c:pt>
                <c:pt idx="20">
                  <c:v>43530</c:v>
                </c:pt>
                <c:pt idx="21">
                  <c:v>43529</c:v>
                </c:pt>
                <c:pt idx="22">
                  <c:v>43528</c:v>
                </c:pt>
                <c:pt idx="23">
                  <c:v>43525</c:v>
                </c:pt>
                <c:pt idx="24">
                  <c:v>43524</c:v>
                </c:pt>
                <c:pt idx="25">
                  <c:v>43523</c:v>
                </c:pt>
                <c:pt idx="26">
                  <c:v>43522</c:v>
                </c:pt>
                <c:pt idx="27">
                  <c:v>43521</c:v>
                </c:pt>
                <c:pt idx="28">
                  <c:v>43518</c:v>
                </c:pt>
                <c:pt idx="29">
                  <c:v>43517</c:v>
                </c:pt>
                <c:pt idx="30">
                  <c:v>43516</c:v>
                </c:pt>
                <c:pt idx="31">
                  <c:v>43515</c:v>
                </c:pt>
                <c:pt idx="32">
                  <c:v>43514</c:v>
                </c:pt>
                <c:pt idx="33">
                  <c:v>43511</c:v>
                </c:pt>
                <c:pt idx="34">
                  <c:v>43510</c:v>
                </c:pt>
                <c:pt idx="35">
                  <c:v>43509</c:v>
                </c:pt>
                <c:pt idx="36">
                  <c:v>43508</c:v>
                </c:pt>
                <c:pt idx="37">
                  <c:v>43507</c:v>
                </c:pt>
                <c:pt idx="38">
                  <c:v>43504</c:v>
                </c:pt>
                <c:pt idx="39">
                  <c:v>43503</c:v>
                </c:pt>
                <c:pt idx="40">
                  <c:v>43502</c:v>
                </c:pt>
                <c:pt idx="41">
                  <c:v>43501</c:v>
                </c:pt>
                <c:pt idx="42">
                  <c:v>43500</c:v>
                </c:pt>
                <c:pt idx="43">
                  <c:v>43497</c:v>
                </c:pt>
                <c:pt idx="44">
                  <c:v>43496</c:v>
                </c:pt>
                <c:pt idx="45">
                  <c:v>43495</c:v>
                </c:pt>
                <c:pt idx="46">
                  <c:v>43494</c:v>
                </c:pt>
                <c:pt idx="47">
                  <c:v>43493</c:v>
                </c:pt>
                <c:pt idx="48">
                  <c:v>43490</c:v>
                </c:pt>
                <c:pt idx="49">
                  <c:v>43489</c:v>
                </c:pt>
                <c:pt idx="50">
                  <c:v>43488</c:v>
                </c:pt>
                <c:pt idx="51">
                  <c:v>43487</c:v>
                </c:pt>
                <c:pt idx="52">
                  <c:v>43486</c:v>
                </c:pt>
                <c:pt idx="53">
                  <c:v>43483</c:v>
                </c:pt>
                <c:pt idx="54">
                  <c:v>43482</c:v>
                </c:pt>
                <c:pt idx="55">
                  <c:v>43481</c:v>
                </c:pt>
                <c:pt idx="56">
                  <c:v>43480</c:v>
                </c:pt>
                <c:pt idx="57">
                  <c:v>43479</c:v>
                </c:pt>
                <c:pt idx="58">
                  <c:v>43476</c:v>
                </c:pt>
                <c:pt idx="59">
                  <c:v>43475</c:v>
                </c:pt>
                <c:pt idx="60">
                  <c:v>43474</c:v>
                </c:pt>
                <c:pt idx="61">
                  <c:v>43473</c:v>
                </c:pt>
                <c:pt idx="62">
                  <c:v>43472</c:v>
                </c:pt>
                <c:pt idx="63">
                  <c:v>43469</c:v>
                </c:pt>
                <c:pt idx="64">
                  <c:v>43468</c:v>
                </c:pt>
                <c:pt idx="65">
                  <c:v>43467</c:v>
                </c:pt>
                <c:pt idx="66">
                  <c:v>43462</c:v>
                </c:pt>
                <c:pt idx="67">
                  <c:v>43461</c:v>
                </c:pt>
                <c:pt idx="68">
                  <c:v>43455</c:v>
                </c:pt>
                <c:pt idx="69">
                  <c:v>43454</c:v>
                </c:pt>
                <c:pt idx="70">
                  <c:v>43453</c:v>
                </c:pt>
                <c:pt idx="71">
                  <c:v>43452</c:v>
                </c:pt>
                <c:pt idx="72">
                  <c:v>43451</c:v>
                </c:pt>
                <c:pt idx="73">
                  <c:v>43448</c:v>
                </c:pt>
                <c:pt idx="74">
                  <c:v>43447</c:v>
                </c:pt>
                <c:pt idx="75">
                  <c:v>43446</c:v>
                </c:pt>
                <c:pt idx="76">
                  <c:v>43445</c:v>
                </c:pt>
                <c:pt idx="77">
                  <c:v>43444</c:v>
                </c:pt>
                <c:pt idx="78">
                  <c:v>43441</c:v>
                </c:pt>
                <c:pt idx="79">
                  <c:v>43440</c:v>
                </c:pt>
                <c:pt idx="80">
                  <c:v>43439</c:v>
                </c:pt>
                <c:pt idx="81">
                  <c:v>43438</c:v>
                </c:pt>
                <c:pt idx="82">
                  <c:v>43437</c:v>
                </c:pt>
                <c:pt idx="83">
                  <c:v>43434</c:v>
                </c:pt>
                <c:pt idx="84">
                  <c:v>43433</c:v>
                </c:pt>
                <c:pt idx="85">
                  <c:v>43432</c:v>
                </c:pt>
                <c:pt idx="86">
                  <c:v>43431</c:v>
                </c:pt>
                <c:pt idx="87">
                  <c:v>43430</c:v>
                </c:pt>
                <c:pt idx="88">
                  <c:v>43427</c:v>
                </c:pt>
                <c:pt idx="89">
                  <c:v>43426</c:v>
                </c:pt>
                <c:pt idx="90">
                  <c:v>43425</c:v>
                </c:pt>
                <c:pt idx="91">
                  <c:v>43424</c:v>
                </c:pt>
                <c:pt idx="92">
                  <c:v>43423</c:v>
                </c:pt>
                <c:pt idx="93">
                  <c:v>43420</c:v>
                </c:pt>
                <c:pt idx="94">
                  <c:v>43419</c:v>
                </c:pt>
                <c:pt idx="95">
                  <c:v>43418</c:v>
                </c:pt>
                <c:pt idx="96">
                  <c:v>43417</c:v>
                </c:pt>
                <c:pt idx="97">
                  <c:v>43416</c:v>
                </c:pt>
                <c:pt idx="98">
                  <c:v>43413</c:v>
                </c:pt>
                <c:pt idx="99">
                  <c:v>43412</c:v>
                </c:pt>
                <c:pt idx="100">
                  <c:v>43411</c:v>
                </c:pt>
                <c:pt idx="101">
                  <c:v>43410</c:v>
                </c:pt>
                <c:pt idx="102">
                  <c:v>43409</c:v>
                </c:pt>
                <c:pt idx="103">
                  <c:v>43406</c:v>
                </c:pt>
                <c:pt idx="104">
                  <c:v>43405</c:v>
                </c:pt>
                <c:pt idx="105">
                  <c:v>43404</c:v>
                </c:pt>
                <c:pt idx="106">
                  <c:v>43403</c:v>
                </c:pt>
                <c:pt idx="107">
                  <c:v>43402</c:v>
                </c:pt>
                <c:pt idx="108">
                  <c:v>43399</c:v>
                </c:pt>
                <c:pt idx="109">
                  <c:v>43398</c:v>
                </c:pt>
                <c:pt idx="110">
                  <c:v>43397</c:v>
                </c:pt>
                <c:pt idx="111">
                  <c:v>43396</c:v>
                </c:pt>
                <c:pt idx="112">
                  <c:v>43395</c:v>
                </c:pt>
                <c:pt idx="113">
                  <c:v>43392</c:v>
                </c:pt>
                <c:pt idx="114">
                  <c:v>43391</c:v>
                </c:pt>
                <c:pt idx="115">
                  <c:v>43390</c:v>
                </c:pt>
                <c:pt idx="116">
                  <c:v>43389</c:v>
                </c:pt>
                <c:pt idx="117">
                  <c:v>43388</c:v>
                </c:pt>
                <c:pt idx="118">
                  <c:v>43385</c:v>
                </c:pt>
                <c:pt idx="119">
                  <c:v>43384</c:v>
                </c:pt>
                <c:pt idx="120">
                  <c:v>43383</c:v>
                </c:pt>
                <c:pt idx="121">
                  <c:v>43382</c:v>
                </c:pt>
                <c:pt idx="122">
                  <c:v>43381</c:v>
                </c:pt>
                <c:pt idx="123">
                  <c:v>43378</c:v>
                </c:pt>
                <c:pt idx="124">
                  <c:v>43377</c:v>
                </c:pt>
                <c:pt idx="125">
                  <c:v>43376</c:v>
                </c:pt>
                <c:pt idx="126">
                  <c:v>43375</c:v>
                </c:pt>
                <c:pt idx="127">
                  <c:v>43374</c:v>
                </c:pt>
                <c:pt idx="128">
                  <c:v>43371</c:v>
                </c:pt>
                <c:pt idx="129">
                  <c:v>43370</c:v>
                </c:pt>
                <c:pt idx="130">
                  <c:v>43369</c:v>
                </c:pt>
                <c:pt idx="131">
                  <c:v>43368</c:v>
                </c:pt>
                <c:pt idx="132">
                  <c:v>43367</c:v>
                </c:pt>
                <c:pt idx="133">
                  <c:v>43364</c:v>
                </c:pt>
                <c:pt idx="134">
                  <c:v>43363</c:v>
                </c:pt>
                <c:pt idx="135">
                  <c:v>43362</c:v>
                </c:pt>
                <c:pt idx="136">
                  <c:v>43361</c:v>
                </c:pt>
                <c:pt idx="137">
                  <c:v>43360</c:v>
                </c:pt>
                <c:pt idx="138">
                  <c:v>43357</c:v>
                </c:pt>
                <c:pt idx="139">
                  <c:v>43356</c:v>
                </c:pt>
                <c:pt idx="140">
                  <c:v>43355</c:v>
                </c:pt>
                <c:pt idx="141">
                  <c:v>43354</c:v>
                </c:pt>
                <c:pt idx="142">
                  <c:v>43353</c:v>
                </c:pt>
                <c:pt idx="143">
                  <c:v>43350</c:v>
                </c:pt>
                <c:pt idx="144">
                  <c:v>43349</c:v>
                </c:pt>
                <c:pt idx="145">
                  <c:v>43348</c:v>
                </c:pt>
                <c:pt idx="146">
                  <c:v>43347</c:v>
                </c:pt>
                <c:pt idx="147">
                  <c:v>43346</c:v>
                </c:pt>
                <c:pt idx="148">
                  <c:v>43343</c:v>
                </c:pt>
                <c:pt idx="149">
                  <c:v>43342</c:v>
                </c:pt>
                <c:pt idx="150">
                  <c:v>43341</c:v>
                </c:pt>
                <c:pt idx="151">
                  <c:v>43340</c:v>
                </c:pt>
                <c:pt idx="152">
                  <c:v>43339</c:v>
                </c:pt>
                <c:pt idx="153">
                  <c:v>43336</c:v>
                </c:pt>
                <c:pt idx="154">
                  <c:v>43335</c:v>
                </c:pt>
                <c:pt idx="155">
                  <c:v>43334</c:v>
                </c:pt>
                <c:pt idx="156">
                  <c:v>43333</c:v>
                </c:pt>
                <c:pt idx="157">
                  <c:v>43332</c:v>
                </c:pt>
                <c:pt idx="158">
                  <c:v>43329</c:v>
                </c:pt>
                <c:pt idx="159">
                  <c:v>43328</c:v>
                </c:pt>
                <c:pt idx="160">
                  <c:v>43327</c:v>
                </c:pt>
                <c:pt idx="161">
                  <c:v>43326</c:v>
                </c:pt>
                <c:pt idx="162">
                  <c:v>43325</c:v>
                </c:pt>
                <c:pt idx="163">
                  <c:v>43322</c:v>
                </c:pt>
                <c:pt idx="164">
                  <c:v>43321</c:v>
                </c:pt>
                <c:pt idx="165">
                  <c:v>43320</c:v>
                </c:pt>
                <c:pt idx="166">
                  <c:v>43319</c:v>
                </c:pt>
                <c:pt idx="167">
                  <c:v>43318</c:v>
                </c:pt>
                <c:pt idx="168">
                  <c:v>43315</c:v>
                </c:pt>
                <c:pt idx="169">
                  <c:v>43314</c:v>
                </c:pt>
                <c:pt idx="170">
                  <c:v>43313</c:v>
                </c:pt>
                <c:pt idx="171">
                  <c:v>43312</c:v>
                </c:pt>
                <c:pt idx="172">
                  <c:v>43311</c:v>
                </c:pt>
                <c:pt idx="173">
                  <c:v>43308</c:v>
                </c:pt>
                <c:pt idx="174">
                  <c:v>43307</c:v>
                </c:pt>
                <c:pt idx="175">
                  <c:v>43306</c:v>
                </c:pt>
                <c:pt idx="176">
                  <c:v>43305</c:v>
                </c:pt>
                <c:pt idx="177">
                  <c:v>43304</c:v>
                </c:pt>
                <c:pt idx="178">
                  <c:v>43301</c:v>
                </c:pt>
                <c:pt idx="179">
                  <c:v>43300</c:v>
                </c:pt>
                <c:pt idx="180">
                  <c:v>43299</c:v>
                </c:pt>
                <c:pt idx="181">
                  <c:v>43298</c:v>
                </c:pt>
                <c:pt idx="182">
                  <c:v>43297</c:v>
                </c:pt>
                <c:pt idx="183">
                  <c:v>43294</c:v>
                </c:pt>
                <c:pt idx="184">
                  <c:v>43293</c:v>
                </c:pt>
                <c:pt idx="185">
                  <c:v>43292</c:v>
                </c:pt>
                <c:pt idx="186">
                  <c:v>43291</c:v>
                </c:pt>
                <c:pt idx="187">
                  <c:v>43290</c:v>
                </c:pt>
                <c:pt idx="188">
                  <c:v>43287</c:v>
                </c:pt>
                <c:pt idx="189">
                  <c:v>43286</c:v>
                </c:pt>
                <c:pt idx="190">
                  <c:v>43285</c:v>
                </c:pt>
                <c:pt idx="191">
                  <c:v>43284</c:v>
                </c:pt>
                <c:pt idx="192">
                  <c:v>43283</c:v>
                </c:pt>
                <c:pt idx="193">
                  <c:v>43280</c:v>
                </c:pt>
                <c:pt idx="194">
                  <c:v>43279</c:v>
                </c:pt>
                <c:pt idx="195">
                  <c:v>43278</c:v>
                </c:pt>
                <c:pt idx="196">
                  <c:v>43277</c:v>
                </c:pt>
                <c:pt idx="197">
                  <c:v>43276</c:v>
                </c:pt>
                <c:pt idx="198">
                  <c:v>43273</c:v>
                </c:pt>
                <c:pt idx="199">
                  <c:v>43272</c:v>
                </c:pt>
                <c:pt idx="200">
                  <c:v>43271</c:v>
                </c:pt>
                <c:pt idx="201">
                  <c:v>43270</c:v>
                </c:pt>
                <c:pt idx="202">
                  <c:v>43269</c:v>
                </c:pt>
                <c:pt idx="203">
                  <c:v>43266</c:v>
                </c:pt>
                <c:pt idx="204">
                  <c:v>43265</c:v>
                </c:pt>
                <c:pt idx="205">
                  <c:v>43264</c:v>
                </c:pt>
                <c:pt idx="206">
                  <c:v>43263</c:v>
                </c:pt>
                <c:pt idx="207">
                  <c:v>43262</c:v>
                </c:pt>
                <c:pt idx="208">
                  <c:v>43259</c:v>
                </c:pt>
                <c:pt idx="209">
                  <c:v>43258</c:v>
                </c:pt>
                <c:pt idx="210">
                  <c:v>43257</c:v>
                </c:pt>
                <c:pt idx="211">
                  <c:v>43256</c:v>
                </c:pt>
                <c:pt idx="212">
                  <c:v>43255</c:v>
                </c:pt>
                <c:pt idx="213">
                  <c:v>43252</c:v>
                </c:pt>
                <c:pt idx="214">
                  <c:v>43251</c:v>
                </c:pt>
                <c:pt idx="215">
                  <c:v>43250</c:v>
                </c:pt>
                <c:pt idx="216">
                  <c:v>43249</c:v>
                </c:pt>
                <c:pt idx="217">
                  <c:v>43248</c:v>
                </c:pt>
                <c:pt idx="218">
                  <c:v>43245</c:v>
                </c:pt>
                <c:pt idx="219">
                  <c:v>43244</c:v>
                </c:pt>
                <c:pt idx="220">
                  <c:v>43243</c:v>
                </c:pt>
                <c:pt idx="221">
                  <c:v>43242</c:v>
                </c:pt>
                <c:pt idx="222">
                  <c:v>43238</c:v>
                </c:pt>
                <c:pt idx="223">
                  <c:v>43236</c:v>
                </c:pt>
                <c:pt idx="224">
                  <c:v>43235</c:v>
                </c:pt>
                <c:pt idx="225">
                  <c:v>43234</c:v>
                </c:pt>
                <c:pt idx="226">
                  <c:v>43231</c:v>
                </c:pt>
                <c:pt idx="227">
                  <c:v>43229</c:v>
                </c:pt>
                <c:pt idx="228">
                  <c:v>43228</c:v>
                </c:pt>
                <c:pt idx="229">
                  <c:v>43227</c:v>
                </c:pt>
                <c:pt idx="230">
                  <c:v>43224</c:v>
                </c:pt>
                <c:pt idx="231">
                  <c:v>43223</c:v>
                </c:pt>
                <c:pt idx="232">
                  <c:v>43222</c:v>
                </c:pt>
                <c:pt idx="233">
                  <c:v>43220</c:v>
                </c:pt>
                <c:pt idx="234">
                  <c:v>43217</c:v>
                </c:pt>
                <c:pt idx="235">
                  <c:v>43216</c:v>
                </c:pt>
                <c:pt idx="236">
                  <c:v>43215</c:v>
                </c:pt>
                <c:pt idx="237">
                  <c:v>43214</c:v>
                </c:pt>
                <c:pt idx="238">
                  <c:v>43213</c:v>
                </c:pt>
                <c:pt idx="239">
                  <c:v>43210</c:v>
                </c:pt>
                <c:pt idx="240">
                  <c:v>43209</c:v>
                </c:pt>
                <c:pt idx="241">
                  <c:v>43208</c:v>
                </c:pt>
                <c:pt idx="242">
                  <c:v>43207</c:v>
                </c:pt>
                <c:pt idx="243">
                  <c:v>43206</c:v>
                </c:pt>
                <c:pt idx="244">
                  <c:v>43203</c:v>
                </c:pt>
                <c:pt idx="245">
                  <c:v>43202</c:v>
                </c:pt>
                <c:pt idx="246">
                  <c:v>43201</c:v>
                </c:pt>
                <c:pt idx="247">
                  <c:v>43200</c:v>
                </c:pt>
                <c:pt idx="248">
                  <c:v>43199</c:v>
                </c:pt>
                <c:pt idx="249">
                  <c:v>43196</c:v>
                </c:pt>
                <c:pt idx="250">
                  <c:v>43195</c:v>
                </c:pt>
                <c:pt idx="251">
                  <c:v>43194</c:v>
                </c:pt>
                <c:pt idx="252">
                  <c:v>43193</c:v>
                </c:pt>
                <c:pt idx="253">
                  <c:v>43187</c:v>
                </c:pt>
                <c:pt idx="254">
                  <c:v>43186</c:v>
                </c:pt>
                <c:pt idx="255">
                  <c:v>43185</c:v>
                </c:pt>
                <c:pt idx="256">
                  <c:v>43182</c:v>
                </c:pt>
                <c:pt idx="257">
                  <c:v>43181</c:v>
                </c:pt>
                <c:pt idx="258">
                  <c:v>43180</c:v>
                </c:pt>
                <c:pt idx="259">
                  <c:v>43179</c:v>
                </c:pt>
                <c:pt idx="260">
                  <c:v>43178</c:v>
                </c:pt>
                <c:pt idx="261">
                  <c:v>43175</c:v>
                </c:pt>
                <c:pt idx="262">
                  <c:v>43174</c:v>
                </c:pt>
                <c:pt idx="263">
                  <c:v>43173</c:v>
                </c:pt>
                <c:pt idx="264">
                  <c:v>43172</c:v>
                </c:pt>
                <c:pt idx="265">
                  <c:v>43171</c:v>
                </c:pt>
                <c:pt idx="266">
                  <c:v>43168</c:v>
                </c:pt>
                <c:pt idx="267">
                  <c:v>43167</c:v>
                </c:pt>
                <c:pt idx="268">
                  <c:v>43166</c:v>
                </c:pt>
                <c:pt idx="269">
                  <c:v>43165</c:v>
                </c:pt>
                <c:pt idx="270">
                  <c:v>43164</c:v>
                </c:pt>
                <c:pt idx="271">
                  <c:v>43161</c:v>
                </c:pt>
                <c:pt idx="272">
                  <c:v>43160</c:v>
                </c:pt>
                <c:pt idx="273">
                  <c:v>43159</c:v>
                </c:pt>
                <c:pt idx="274">
                  <c:v>43158</c:v>
                </c:pt>
                <c:pt idx="275">
                  <c:v>43157</c:v>
                </c:pt>
                <c:pt idx="276">
                  <c:v>43154</c:v>
                </c:pt>
                <c:pt idx="277">
                  <c:v>43153</c:v>
                </c:pt>
                <c:pt idx="278">
                  <c:v>43152</c:v>
                </c:pt>
                <c:pt idx="279">
                  <c:v>43151</c:v>
                </c:pt>
                <c:pt idx="280">
                  <c:v>43150</c:v>
                </c:pt>
                <c:pt idx="281">
                  <c:v>43147</c:v>
                </c:pt>
                <c:pt idx="282">
                  <c:v>43146</c:v>
                </c:pt>
                <c:pt idx="283">
                  <c:v>43145</c:v>
                </c:pt>
                <c:pt idx="284">
                  <c:v>43144</c:v>
                </c:pt>
                <c:pt idx="285">
                  <c:v>43143</c:v>
                </c:pt>
                <c:pt idx="286">
                  <c:v>43140</c:v>
                </c:pt>
                <c:pt idx="287">
                  <c:v>43139</c:v>
                </c:pt>
                <c:pt idx="288">
                  <c:v>43138</c:v>
                </c:pt>
                <c:pt idx="289">
                  <c:v>43137</c:v>
                </c:pt>
                <c:pt idx="290">
                  <c:v>43136</c:v>
                </c:pt>
                <c:pt idx="291">
                  <c:v>43133</c:v>
                </c:pt>
                <c:pt idx="292">
                  <c:v>43132</c:v>
                </c:pt>
                <c:pt idx="293">
                  <c:v>43131</c:v>
                </c:pt>
                <c:pt idx="294">
                  <c:v>43130</c:v>
                </c:pt>
                <c:pt idx="295">
                  <c:v>43129</c:v>
                </c:pt>
                <c:pt idx="296">
                  <c:v>43126</c:v>
                </c:pt>
                <c:pt idx="297">
                  <c:v>43125</c:v>
                </c:pt>
                <c:pt idx="298">
                  <c:v>43124</c:v>
                </c:pt>
                <c:pt idx="299">
                  <c:v>43123</c:v>
                </c:pt>
                <c:pt idx="300">
                  <c:v>43122</c:v>
                </c:pt>
                <c:pt idx="301">
                  <c:v>43119</c:v>
                </c:pt>
                <c:pt idx="302">
                  <c:v>43118</c:v>
                </c:pt>
                <c:pt idx="303">
                  <c:v>43117</c:v>
                </c:pt>
                <c:pt idx="304">
                  <c:v>43116</c:v>
                </c:pt>
                <c:pt idx="305">
                  <c:v>43115</c:v>
                </c:pt>
                <c:pt idx="306">
                  <c:v>43112</c:v>
                </c:pt>
                <c:pt idx="307">
                  <c:v>43111</c:v>
                </c:pt>
                <c:pt idx="308">
                  <c:v>43110</c:v>
                </c:pt>
                <c:pt idx="309">
                  <c:v>43109</c:v>
                </c:pt>
                <c:pt idx="310">
                  <c:v>43108</c:v>
                </c:pt>
                <c:pt idx="311">
                  <c:v>43105</c:v>
                </c:pt>
                <c:pt idx="312">
                  <c:v>43104</c:v>
                </c:pt>
                <c:pt idx="313">
                  <c:v>43103</c:v>
                </c:pt>
                <c:pt idx="314">
                  <c:v>43102</c:v>
                </c:pt>
                <c:pt idx="315">
                  <c:v>43098</c:v>
                </c:pt>
                <c:pt idx="316">
                  <c:v>43097</c:v>
                </c:pt>
                <c:pt idx="317">
                  <c:v>43096</c:v>
                </c:pt>
                <c:pt idx="318">
                  <c:v>43091</c:v>
                </c:pt>
                <c:pt idx="319">
                  <c:v>43090</c:v>
                </c:pt>
                <c:pt idx="320">
                  <c:v>43089</c:v>
                </c:pt>
                <c:pt idx="321">
                  <c:v>43088</c:v>
                </c:pt>
                <c:pt idx="322">
                  <c:v>43087</c:v>
                </c:pt>
                <c:pt idx="323">
                  <c:v>43084</c:v>
                </c:pt>
                <c:pt idx="324">
                  <c:v>43083</c:v>
                </c:pt>
                <c:pt idx="325">
                  <c:v>43082</c:v>
                </c:pt>
                <c:pt idx="326">
                  <c:v>43081</c:v>
                </c:pt>
                <c:pt idx="327">
                  <c:v>43080</c:v>
                </c:pt>
                <c:pt idx="328">
                  <c:v>43077</c:v>
                </c:pt>
                <c:pt idx="329">
                  <c:v>43076</c:v>
                </c:pt>
                <c:pt idx="330">
                  <c:v>43075</c:v>
                </c:pt>
                <c:pt idx="331">
                  <c:v>43074</c:v>
                </c:pt>
                <c:pt idx="332">
                  <c:v>43073</c:v>
                </c:pt>
                <c:pt idx="333">
                  <c:v>43070</c:v>
                </c:pt>
                <c:pt idx="334">
                  <c:v>43069</c:v>
                </c:pt>
                <c:pt idx="335">
                  <c:v>43068</c:v>
                </c:pt>
                <c:pt idx="336">
                  <c:v>43067</c:v>
                </c:pt>
                <c:pt idx="337">
                  <c:v>43066</c:v>
                </c:pt>
                <c:pt idx="338">
                  <c:v>43063</c:v>
                </c:pt>
                <c:pt idx="339">
                  <c:v>43062</c:v>
                </c:pt>
                <c:pt idx="340">
                  <c:v>43061</c:v>
                </c:pt>
                <c:pt idx="341">
                  <c:v>43060</c:v>
                </c:pt>
                <c:pt idx="342">
                  <c:v>43059</c:v>
                </c:pt>
                <c:pt idx="343">
                  <c:v>43056</c:v>
                </c:pt>
                <c:pt idx="344">
                  <c:v>43055</c:v>
                </c:pt>
                <c:pt idx="345">
                  <c:v>43054</c:v>
                </c:pt>
                <c:pt idx="346">
                  <c:v>43053</c:v>
                </c:pt>
                <c:pt idx="347">
                  <c:v>43052</c:v>
                </c:pt>
                <c:pt idx="348">
                  <c:v>43049</c:v>
                </c:pt>
                <c:pt idx="349">
                  <c:v>43048</c:v>
                </c:pt>
                <c:pt idx="350">
                  <c:v>43047</c:v>
                </c:pt>
                <c:pt idx="351">
                  <c:v>43046</c:v>
                </c:pt>
                <c:pt idx="352">
                  <c:v>43045</c:v>
                </c:pt>
                <c:pt idx="353">
                  <c:v>43042</c:v>
                </c:pt>
                <c:pt idx="354">
                  <c:v>43041</c:v>
                </c:pt>
                <c:pt idx="355">
                  <c:v>43040</c:v>
                </c:pt>
                <c:pt idx="356">
                  <c:v>43039</c:v>
                </c:pt>
                <c:pt idx="357">
                  <c:v>43038</c:v>
                </c:pt>
                <c:pt idx="358">
                  <c:v>43035</c:v>
                </c:pt>
                <c:pt idx="359">
                  <c:v>43034</c:v>
                </c:pt>
                <c:pt idx="360">
                  <c:v>43033</c:v>
                </c:pt>
                <c:pt idx="361">
                  <c:v>43032</c:v>
                </c:pt>
                <c:pt idx="362">
                  <c:v>43031</c:v>
                </c:pt>
                <c:pt idx="363">
                  <c:v>43028</c:v>
                </c:pt>
                <c:pt idx="364">
                  <c:v>43027</c:v>
                </c:pt>
                <c:pt idx="365">
                  <c:v>43026</c:v>
                </c:pt>
                <c:pt idx="366">
                  <c:v>43025</c:v>
                </c:pt>
                <c:pt idx="367">
                  <c:v>43024</c:v>
                </c:pt>
                <c:pt idx="368">
                  <c:v>43021</c:v>
                </c:pt>
                <c:pt idx="369">
                  <c:v>43020</c:v>
                </c:pt>
                <c:pt idx="370">
                  <c:v>43019</c:v>
                </c:pt>
                <c:pt idx="371">
                  <c:v>43018</c:v>
                </c:pt>
                <c:pt idx="372">
                  <c:v>43017</c:v>
                </c:pt>
                <c:pt idx="373">
                  <c:v>43014</c:v>
                </c:pt>
                <c:pt idx="374">
                  <c:v>43013</c:v>
                </c:pt>
                <c:pt idx="375">
                  <c:v>43012</c:v>
                </c:pt>
                <c:pt idx="376">
                  <c:v>43011</c:v>
                </c:pt>
                <c:pt idx="377">
                  <c:v>43010</c:v>
                </c:pt>
                <c:pt idx="378">
                  <c:v>43007</c:v>
                </c:pt>
                <c:pt idx="379">
                  <c:v>43006</c:v>
                </c:pt>
                <c:pt idx="380">
                  <c:v>43005</c:v>
                </c:pt>
                <c:pt idx="381">
                  <c:v>43004</c:v>
                </c:pt>
                <c:pt idx="382">
                  <c:v>43003</c:v>
                </c:pt>
                <c:pt idx="383">
                  <c:v>43000</c:v>
                </c:pt>
                <c:pt idx="384">
                  <c:v>42999</c:v>
                </c:pt>
                <c:pt idx="385">
                  <c:v>42998</c:v>
                </c:pt>
                <c:pt idx="386">
                  <c:v>42997</c:v>
                </c:pt>
                <c:pt idx="387">
                  <c:v>42996</c:v>
                </c:pt>
                <c:pt idx="388">
                  <c:v>42993</c:v>
                </c:pt>
                <c:pt idx="389">
                  <c:v>42992</c:v>
                </c:pt>
                <c:pt idx="390">
                  <c:v>42991</c:v>
                </c:pt>
                <c:pt idx="391">
                  <c:v>42990</c:v>
                </c:pt>
                <c:pt idx="392">
                  <c:v>42989</c:v>
                </c:pt>
                <c:pt idx="393">
                  <c:v>42986</c:v>
                </c:pt>
                <c:pt idx="394">
                  <c:v>42985</c:v>
                </c:pt>
                <c:pt idx="395">
                  <c:v>42984</c:v>
                </c:pt>
                <c:pt idx="396">
                  <c:v>42983</c:v>
                </c:pt>
                <c:pt idx="397">
                  <c:v>42982</c:v>
                </c:pt>
                <c:pt idx="398">
                  <c:v>42979</c:v>
                </c:pt>
                <c:pt idx="399">
                  <c:v>42978</c:v>
                </c:pt>
                <c:pt idx="400">
                  <c:v>42977</c:v>
                </c:pt>
                <c:pt idx="401">
                  <c:v>42976</c:v>
                </c:pt>
                <c:pt idx="402">
                  <c:v>42975</c:v>
                </c:pt>
                <c:pt idx="403">
                  <c:v>42972</c:v>
                </c:pt>
                <c:pt idx="404">
                  <c:v>42971</c:v>
                </c:pt>
                <c:pt idx="405">
                  <c:v>42970</c:v>
                </c:pt>
                <c:pt idx="406">
                  <c:v>42969</c:v>
                </c:pt>
                <c:pt idx="407">
                  <c:v>42968</c:v>
                </c:pt>
                <c:pt idx="408">
                  <c:v>42965</c:v>
                </c:pt>
                <c:pt idx="409">
                  <c:v>42964</c:v>
                </c:pt>
                <c:pt idx="410">
                  <c:v>42963</c:v>
                </c:pt>
                <c:pt idx="411">
                  <c:v>42962</c:v>
                </c:pt>
                <c:pt idx="412">
                  <c:v>42961</c:v>
                </c:pt>
                <c:pt idx="413">
                  <c:v>42958</c:v>
                </c:pt>
                <c:pt idx="414">
                  <c:v>42957</c:v>
                </c:pt>
                <c:pt idx="415">
                  <c:v>42956</c:v>
                </c:pt>
                <c:pt idx="416">
                  <c:v>42955</c:v>
                </c:pt>
                <c:pt idx="417">
                  <c:v>42954</c:v>
                </c:pt>
                <c:pt idx="418">
                  <c:v>42951</c:v>
                </c:pt>
                <c:pt idx="419">
                  <c:v>42950</c:v>
                </c:pt>
                <c:pt idx="420">
                  <c:v>42949</c:v>
                </c:pt>
                <c:pt idx="421">
                  <c:v>42948</c:v>
                </c:pt>
                <c:pt idx="422">
                  <c:v>42947</c:v>
                </c:pt>
                <c:pt idx="423">
                  <c:v>42944</c:v>
                </c:pt>
                <c:pt idx="424">
                  <c:v>42943</c:v>
                </c:pt>
                <c:pt idx="425">
                  <c:v>42942</c:v>
                </c:pt>
                <c:pt idx="426">
                  <c:v>42941</c:v>
                </c:pt>
                <c:pt idx="427">
                  <c:v>42940</c:v>
                </c:pt>
                <c:pt idx="428">
                  <c:v>42937</c:v>
                </c:pt>
                <c:pt idx="429">
                  <c:v>42936</c:v>
                </c:pt>
                <c:pt idx="430">
                  <c:v>42935</c:v>
                </c:pt>
                <c:pt idx="431">
                  <c:v>42934</c:v>
                </c:pt>
                <c:pt idx="432">
                  <c:v>42933</c:v>
                </c:pt>
                <c:pt idx="433">
                  <c:v>42930</c:v>
                </c:pt>
                <c:pt idx="434">
                  <c:v>42929</c:v>
                </c:pt>
                <c:pt idx="435">
                  <c:v>42928</c:v>
                </c:pt>
                <c:pt idx="436">
                  <c:v>42927</c:v>
                </c:pt>
                <c:pt idx="437">
                  <c:v>42926</c:v>
                </c:pt>
                <c:pt idx="438">
                  <c:v>42923</c:v>
                </c:pt>
                <c:pt idx="439">
                  <c:v>42922</c:v>
                </c:pt>
                <c:pt idx="440">
                  <c:v>42921</c:v>
                </c:pt>
                <c:pt idx="441">
                  <c:v>42920</c:v>
                </c:pt>
                <c:pt idx="442">
                  <c:v>42919</c:v>
                </c:pt>
                <c:pt idx="443">
                  <c:v>42916</c:v>
                </c:pt>
                <c:pt idx="444">
                  <c:v>42915</c:v>
                </c:pt>
                <c:pt idx="445">
                  <c:v>42914</c:v>
                </c:pt>
                <c:pt idx="446">
                  <c:v>42913</c:v>
                </c:pt>
                <c:pt idx="447">
                  <c:v>42912</c:v>
                </c:pt>
                <c:pt idx="448">
                  <c:v>42909</c:v>
                </c:pt>
                <c:pt idx="449">
                  <c:v>42908</c:v>
                </c:pt>
                <c:pt idx="450">
                  <c:v>42907</c:v>
                </c:pt>
                <c:pt idx="451">
                  <c:v>42906</c:v>
                </c:pt>
                <c:pt idx="452">
                  <c:v>42905</c:v>
                </c:pt>
                <c:pt idx="453">
                  <c:v>42902</c:v>
                </c:pt>
                <c:pt idx="454">
                  <c:v>42901</c:v>
                </c:pt>
                <c:pt idx="455">
                  <c:v>42900</c:v>
                </c:pt>
                <c:pt idx="456">
                  <c:v>42899</c:v>
                </c:pt>
                <c:pt idx="457">
                  <c:v>42898</c:v>
                </c:pt>
                <c:pt idx="458">
                  <c:v>42895</c:v>
                </c:pt>
                <c:pt idx="459">
                  <c:v>42894</c:v>
                </c:pt>
                <c:pt idx="460">
                  <c:v>42893</c:v>
                </c:pt>
                <c:pt idx="461">
                  <c:v>42892</c:v>
                </c:pt>
                <c:pt idx="462">
                  <c:v>42888</c:v>
                </c:pt>
                <c:pt idx="463">
                  <c:v>42887</c:v>
                </c:pt>
                <c:pt idx="464">
                  <c:v>42886</c:v>
                </c:pt>
                <c:pt idx="465">
                  <c:v>42885</c:v>
                </c:pt>
                <c:pt idx="466">
                  <c:v>42884</c:v>
                </c:pt>
                <c:pt idx="467">
                  <c:v>42881</c:v>
                </c:pt>
                <c:pt idx="468">
                  <c:v>42879</c:v>
                </c:pt>
                <c:pt idx="469">
                  <c:v>42878</c:v>
                </c:pt>
                <c:pt idx="470">
                  <c:v>42877</c:v>
                </c:pt>
                <c:pt idx="471">
                  <c:v>42874</c:v>
                </c:pt>
                <c:pt idx="472">
                  <c:v>42873</c:v>
                </c:pt>
                <c:pt idx="473">
                  <c:v>42871</c:v>
                </c:pt>
                <c:pt idx="474">
                  <c:v>42870</c:v>
                </c:pt>
                <c:pt idx="475">
                  <c:v>42867</c:v>
                </c:pt>
                <c:pt idx="476">
                  <c:v>42866</c:v>
                </c:pt>
                <c:pt idx="477">
                  <c:v>42865</c:v>
                </c:pt>
                <c:pt idx="478">
                  <c:v>42864</c:v>
                </c:pt>
                <c:pt idx="479">
                  <c:v>42863</c:v>
                </c:pt>
                <c:pt idx="480">
                  <c:v>42860</c:v>
                </c:pt>
                <c:pt idx="481">
                  <c:v>42859</c:v>
                </c:pt>
                <c:pt idx="482">
                  <c:v>42858</c:v>
                </c:pt>
                <c:pt idx="483">
                  <c:v>42857</c:v>
                </c:pt>
                <c:pt idx="484">
                  <c:v>42853</c:v>
                </c:pt>
                <c:pt idx="485">
                  <c:v>42852</c:v>
                </c:pt>
                <c:pt idx="486">
                  <c:v>42851</c:v>
                </c:pt>
                <c:pt idx="487">
                  <c:v>42850</c:v>
                </c:pt>
                <c:pt idx="488">
                  <c:v>42849</c:v>
                </c:pt>
                <c:pt idx="489">
                  <c:v>42846</c:v>
                </c:pt>
                <c:pt idx="490">
                  <c:v>42845</c:v>
                </c:pt>
                <c:pt idx="491">
                  <c:v>42844</c:v>
                </c:pt>
                <c:pt idx="492">
                  <c:v>42843</c:v>
                </c:pt>
                <c:pt idx="493">
                  <c:v>42837</c:v>
                </c:pt>
                <c:pt idx="494">
                  <c:v>42836</c:v>
                </c:pt>
                <c:pt idx="495">
                  <c:v>42835</c:v>
                </c:pt>
                <c:pt idx="496">
                  <c:v>42832</c:v>
                </c:pt>
                <c:pt idx="497">
                  <c:v>42831</c:v>
                </c:pt>
                <c:pt idx="498">
                  <c:v>42830</c:v>
                </c:pt>
                <c:pt idx="499">
                  <c:v>42829</c:v>
                </c:pt>
                <c:pt idx="500">
                  <c:v>42828</c:v>
                </c:pt>
                <c:pt idx="501">
                  <c:v>42825</c:v>
                </c:pt>
                <c:pt idx="502">
                  <c:v>42824</c:v>
                </c:pt>
                <c:pt idx="503">
                  <c:v>42823</c:v>
                </c:pt>
                <c:pt idx="504">
                  <c:v>42822</c:v>
                </c:pt>
                <c:pt idx="505">
                  <c:v>42821</c:v>
                </c:pt>
                <c:pt idx="506">
                  <c:v>42818</c:v>
                </c:pt>
                <c:pt idx="507">
                  <c:v>42817</c:v>
                </c:pt>
                <c:pt idx="508">
                  <c:v>42816</c:v>
                </c:pt>
                <c:pt idx="509">
                  <c:v>42815</c:v>
                </c:pt>
                <c:pt idx="510">
                  <c:v>42814</c:v>
                </c:pt>
                <c:pt idx="511">
                  <c:v>42811</c:v>
                </c:pt>
                <c:pt idx="512">
                  <c:v>42810</c:v>
                </c:pt>
                <c:pt idx="513">
                  <c:v>42809</c:v>
                </c:pt>
                <c:pt idx="514">
                  <c:v>42808</c:v>
                </c:pt>
                <c:pt idx="515">
                  <c:v>42807</c:v>
                </c:pt>
                <c:pt idx="516">
                  <c:v>42804</c:v>
                </c:pt>
                <c:pt idx="517">
                  <c:v>42803</c:v>
                </c:pt>
                <c:pt idx="518">
                  <c:v>42802</c:v>
                </c:pt>
                <c:pt idx="519">
                  <c:v>42801</c:v>
                </c:pt>
                <c:pt idx="520">
                  <c:v>42800</c:v>
                </c:pt>
                <c:pt idx="521">
                  <c:v>42797</c:v>
                </c:pt>
                <c:pt idx="522">
                  <c:v>42796</c:v>
                </c:pt>
                <c:pt idx="523">
                  <c:v>42795</c:v>
                </c:pt>
                <c:pt idx="524">
                  <c:v>42794</c:v>
                </c:pt>
                <c:pt idx="525">
                  <c:v>42793</c:v>
                </c:pt>
                <c:pt idx="526">
                  <c:v>42790</c:v>
                </c:pt>
                <c:pt idx="527">
                  <c:v>42789</c:v>
                </c:pt>
                <c:pt idx="528">
                  <c:v>42788</c:v>
                </c:pt>
                <c:pt idx="529">
                  <c:v>42787</c:v>
                </c:pt>
                <c:pt idx="530">
                  <c:v>42786</c:v>
                </c:pt>
                <c:pt idx="531">
                  <c:v>42783</c:v>
                </c:pt>
                <c:pt idx="532">
                  <c:v>42782</c:v>
                </c:pt>
                <c:pt idx="533">
                  <c:v>42781</c:v>
                </c:pt>
                <c:pt idx="534">
                  <c:v>42780</c:v>
                </c:pt>
                <c:pt idx="535">
                  <c:v>42779</c:v>
                </c:pt>
                <c:pt idx="536">
                  <c:v>42776</c:v>
                </c:pt>
                <c:pt idx="537">
                  <c:v>42775</c:v>
                </c:pt>
                <c:pt idx="538">
                  <c:v>42774</c:v>
                </c:pt>
                <c:pt idx="539">
                  <c:v>42773</c:v>
                </c:pt>
                <c:pt idx="540">
                  <c:v>42772</c:v>
                </c:pt>
                <c:pt idx="541">
                  <c:v>42769</c:v>
                </c:pt>
                <c:pt idx="542">
                  <c:v>42768</c:v>
                </c:pt>
                <c:pt idx="543">
                  <c:v>42767</c:v>
                </c:pt>
                <c:pt idx="544">
                  <c:v>42766</c:v>
                </c:pt>
                <c:pt idx="545">
                  <c:v>42765</c:v>
                </c:pt>
                <c:pt idx="546">
                  <c:v>42762</c:v>
                </c:pt>
                <c:pt idx="547">
                  <c:v>42761</c:v>
                </c:pt>
                <c:pt idx="548">
                  <c:v>42760</c:v>
                </c:pt>
                <c:pt idx="549">
                  <c:v>42759</c:v>
                </c:pt>
                <c:pt idx="550">
                  <c:v>42758</c:v>
                </c:pt>
                <c:pt idx="551">
                  <c:v>42755</c:v>
                </c:pt>
                <c:pt idx="552">
                  <c:v>42754</c:v>
                </c:pt>
                <c:pt idx="553">
                  <c:v>42753</c:v>
                </c:pt>
                <c:pt idx="554">
                  <c:v>42752</c:v>
                </c:pt>
                <c:pt idx="555">
                  <c:v>42751</c:v>
                </c:pt>
                <c:pt idx="556">
                  <c:v>42748</c:v>
                </c:pt>
                <c:pt idx="557">
                  <c:v>42747</c:v>
                </c:pt>
                <c:pt idx="558">
                  <c:v>42746</c:v>
                </c:pt>
                <c:pt idx="559">
                  <c:v>42745</c:v>
                </c:pt>
                <c:pt idx="560">
                  <c:v>42744</c:v>
                </c:pt>
                <c:pt idx="561">
                  <c:v>42741</c:v>
                </c:pt>
                <c:pt idx="562">
                  <c:v>42740</c:v>
                </c:pt>
                <c:pt idx="563">
                  <c:v>42739</c:v>
                </c:pt>
                <c:pt idx="564">
                  <c:v>42738</c:v>
                </c:pt>
                <c:pt idx="565">
                  <c:v>42737</c:v>
                </c:pt>
                <c:pt idx="566">
                  <c:v>42734</c:v>
                </c:pt>
                <c:pt idx="567">
                  <c:v>42733</c:v>
                </c:pt>
                <c:pt idx="568">
                  <c:v>42732</c:v>
                </c:pt>
                <c:pt idx="569">
                  <c:v>42731</c:v>
                </c:pt>
                <c:pt idx="570">
                  <c:v>42727</c:v>
                </c:pt>
                <c:pt idx="571">
                  <c:v>42726</c:v>
                </c:pt>
                <c:pt idx="572">
                  <c:v>42725</c:v>
                </c:pt>
                <c:pt idx="573">
                  <c:v>42724</c:v>
                </c:pt>
                <c:pt idx="574">
                  <c:v>42723</c:v>
                </c:pt>
                <c:pt idx="575">
                  <c:v>42720</c:v>
                </c:pt>
                <c:pt idx="576">
                  <c:v>42719</c:v>
                </c:pt>
                <c:pt idx="577">
                  <c:v>42718</c:v>
                </c:pt>
                <c:pt idx="578">
                  <c:v>42717</c:v>
                </c:pt>
                <c:pt idx="579">
                  <c:v>42716</c:v>
                </c:pt>
                <c:pt idx="580">
                  <c:v>42713</c:v>
                </c:pt>
                <c:pt idx="581">
                  <c:v>42712</c:v>
                </c:pt>
                <c:pt idx="582">
                  <c:v>42711</c:v>
                </c:pt>
                <c:pt idx="583">
                  <c:v>42710</c:v>
                </c:pt>
                <c:pt idx="584">
                  <c:v>42709</c:v>
                </c:pt>
                <c:pt idx="585">
                  <c:v>42706</c:v>
                </c:pt>
                <c:pt idx="586">
                  <c:v>42705</c:v>
                </c:pt>
                <c:pt idx="587">
                  <c:v>42704</c:v>
                </c:pt>
                <c:pt idx="588">
                  <c:v>42703</c:v>
                </c:pt>
                <c:pt idx="589">
                  <c:v>42702</c:v>
                </c:pt>
                <c:pt idx="590">
                  <c:v>42699</c:v>
                </c:pt>
                <c:pt idx="591">
                  <c:v>42698</c:v>
                </c:pt>
                <c:pt idx="592">
                  <c:v>42697</c:v>
                </c:pt>
                <c:pt idx="593">
                  <c:v>42696</c:v>
                </c:pt>
                <c:pt idx="594">
                  <c:v>42695</c:v>
                </c:pt>
                <c:pt idx="595">
                  <c:v>42692</c:v>
                </c:pt>
                <c:pt idx="596">
                  <c:v>42691</c:v>
                </c:pt>
                <c:pt idx="597">
                  <c:v>42690</c:v>
                </c:pt>
                <c:pt idx="598">
                  <c:v>42689</c:v>
                </c:pt>
                <c:pt idx="599">
                  <c:v>42688</c:v>
                </c:pt>
                <c:pt idx="600">
                  <c:v>42685</c:v>
                </c:pt>
                <c:pt idx="601">
                  <c:v>42684</c:v>
                </c:pt>
                <c:pt idx="602">
                  <c:v>42683</c:v>
                </c:pt>
                <c:pt idx="603">
                  <c:v>42682</c:v>
                </c:pt>
                <c:pt idx="604">
                  <c:v>42681</c:v>
                </c:pt>
                <c:pt idx="605">
                  <c:v>42678</c:v>
                </c:pt>
                <c:pt idx="606">
                  <c:v>42677</c:v>
                </c:pt>
                <c:pt idx="607">
                  <c:v>42676</c:v>
                </c:pt>
                <c:pt idx="608">
                  <c:v>42675</c:v>
                </c:pt>
                <c:pt idx="609">
                  <c:v>42674</c:v>
                </c:pt>
                <c:pt idx="610">
                  <c:v>42671</c:v>
                </c:pt>
                <c:pt idx="611">
                  <c:v>42670</c:v>
                </c:pt>
                <c:pt idx="612">
                  <c:v>42669</c:v>
                </c:pt>
                <c:pt idx="613">
                  <c:v>42668</c:v>
                </c:pt>
                <c:pt idx="614">
                  <c:v>42667</c:v>
                </c:pt>
                <c:pt idx="615">
                  <c:v>42664</c:v>
                </c:pt>
                <c:pt idx="616">
                  <c:v>42663</c:v>
                </c:pt>
                <c:pt idx="617">
                  <c:v>42662</c:v>
                </c:pt>
                <c:pt idx="618">
                  <c:v>42661</c:v>
                </c:pt>
                <c:pt idx="619">
                  <c:v>42660</c:v>
                </c:pt>
                <c:pt idx="620">
                  <c:v>42657</c:v>
                </c:pt>
                <c:pt idx="621">
                  <c:v>42656</c:v>
                </c:pt>
                <c:pt idx="622">
                  <c:v>42655</c:v>
                </c:pt>
                <c:pt idx="623">
                  <c:v>42654</c:v>
                </c:pt>
                <c:pt idx="624">
                  <c:v>42653</c:v>
                </c:pt>
                <c:pt idx="625">
                  <c:v>42650</c:v>
                </c:pt>
                <c:pt idx="626">
                  <c:v>42649</c:v>
                </c:pt>
                <c:pt idx="627">
                  <c:v>42648</c:v>
                </c:pt>
                <c:pt idx="628">
                  <c:v>42647</c:v>
                </c:pt>
                <c:pt idx="629">
                  <c:v>42646</c:v>
                </c:pt>
                <c:pt idx="630">
                  <c:v>42643</c:v>
                </c:pt>
                <c:pt idx="631">
                  <c:v>42642</c:v>
                </c:pt>
                <c:pt idx="632">
                  <c:v>42641</c:v>
                </c:pt>
                <c:pt idx="633">
                  <c:v>42640</c:v>
                </c:pt>
                <c:pt idx="634">
                  <c:v>42639</c:v>
                </c:pt>
                <c:pt idx="635">
                  <c:v>42636</c:v>
                </c:pt>
                <c:pt idx="636">
                  <c:v>42635</c:v>
                </c:pt>
                <c:pt idx="637">
                  <c:v>42634</c:v>
                </c:pt>
                <c:pt idx="638">
                  <c:v>42633</c:v>
                </c:pt>
                <c:pt idx="639">
                  <c:v>42632</c:v>
                </c:pt>
                <c:pt idx="640">
                  <c:v>42629</c:v>
                </c:pt>
                <c:pt idx="641">
                  <c:v>42628</c:v>
                </c:pt>
                <c:pt idx="642">
                  <c:v>42627</c:v>
                </c:pt>
                <c:pt idx="643">
                  <c:v>42626</c:v>
                </c:pt>
                <c:pt idx="644">
                  <c:v>42625</c:v>
                </c:pt>
                <c:pt idx="645">
                  <c:v>42622</c:v>
                </c:pt>
                <c:pt idx="646">
                  <c:v>42621</c:v>
                </c:pt>
                <c:pt idx="647">
                  <c:v>42620</c:v>
                </c:pt>
                <c:pt idx="648">
                  <c:v>42619</c:v>
                </c:pt>
                <c:pt idx="649">
                  <c:v>42618</c:v>
                </c:pt>
                <c:pt idx="650">
                  <c:v>42615</c:v>
                </c:pt>
                <c:pt idx="651">
                  <c:v>42614</c:v>
                </c:pt>
                <c:pt idx="652">
                  <c:v>42613</c:v>
                </c:pt>
                <c:pt idx="653">
                  <c:v>42612</c:v>
                </c:pt>
                <c:pt idx="654">
                  <c:v>42611</c:v>
                </c:pt>
                <c:pt idx="655">
                  <c:v>42608</c:v>
                </c:pt>
                <c:pt idx="656">
                  <c:v>42607</c:v>
                </c:pt>
                <c:pt idx="657">
                  <c:v>42606</c:v>
                </c:pt>
                <c:pt idx="658">
                  <c:v>42605</c:v>
                </c:pt>
                <c:pt idx="659">
                  <c:v>42604</c:v>
                </c:pt>
                <c:pt idx="660">
                  <c:v>42601</c:v>
                </c:pt>
                <c:pt idx="661">
                  <c:v>42600</c:v>
                </c:pt>
                <c:pt idx="662">
                  <c:v>42599</c:v>
                </c:pt>
                <c:pt idx="663">
                  <c:v>42598</c:v>
                </c:pt>
                <c:pt idx="664">
                  <c:v>42597</c:v>
                </c:pt>
                <c:pt idx="665">
                  <c:v>42594</c:v>
                </c:pt>
                <c:pt idx="666">
                  <c:v>42593</c:v>
                </c:pt>
                <c:pt idx="667">
                  <c:v>42592</c:v>
                </c:pt>
                <c:pt idx="668">
                  <c:v>42591</c:v>
                </c:pt>
                <c:pt idx="669">
                  <c:v>42590</c:v>
                </c:pt>
                <c:pt idx="670">
                  <c:v>42587</c:v>
                </c:pt>
                <c:pt idx="671">
                  <c:v>42586</c:v>
                </c:pt>
                <c:pt idx="672">
                  <c:v>42585</c:v>
                </c:pt>
                <c:pt idx="673">
                  <c:v>42584</c:v>
                </c:pt>
                <c:pt idx="674">
                  <c:v>42583</c:v>
                </c:pt>
                <c:pt idx="675">
                  <c:v>42580</c:v>
                </c:pt>
                <c:pt idx="676">
                  <c:v>42579</c:v>
                </c:pt>
                <c:pt idx="677">
                  <c:v>42578</c:v>
                </c:pt>
                <c:pt idx="678">
                  <c:v>42577</c:v>
                </c:pt>
                <c:pt idx="679">
                  <c:v>42576</c:v>
                </c:pt>
                <c:pt idx="680">
                  <c:v>42573</c:v>
                </c:pt>
                <c:pt idx="681">
                  <c:v>42572</c:v>
                </c:pt>
                <c:pt idx="682">
                  <c:v>42571</c:v>
                </c:pt>
                <c:pt idx="683">
                  <c:v>42570</c:v>
                </c:pt>
                <c:pt idx="684">
                  <c:v>42569</c:v>
                </c:pt>
                <c:pt idx="685">
                  <c:v>42566</c:v>
                </c:pt>
                <c:pt idx="686">
                  <c:v>42565</c:v>
                </c:pt>
                <c:pt idx="687">
                  <c:v>42564</c:v>
                </c:pt>
                <c:pt idx="688">
                  <c:v>42563</c:v>
                </c:pt>
                <c:pt idx="689">
                  <c:v>42562</c:v>
                </c:pt>
                <c:pt idx="690">
                  <c:v>42559</c:v>
                </c:pt>
                <c:pt idx="691">
                  <c:v>42558</c:v>
                </c:pt>
                <c:pt idx="692">
                  <c:v>42557</c:v>
                </c:pt>
                <c:pt idx="693">
                  <c:v>42556</c:v>
                </c:pt>
                <c:pt idx="694">
                  <c:v>42555</c:v>
                </c:pt>
                <c:pt idx="695">
                  <c:v>42552</c:v>
                </c:pt>
                <c:pt idx="696">
                  <c:v>42551</c:v>
                </c:pt>
                <c:pt idx="697">
                  <c:v>42550</c:v>
                </c:pt>
                <c:pt idx="698">
                  <c:v>42549</c:v>
                </c:pt>
                <c:pt idx="699">
                  <c:v>42548</c:v>
                </c:pt>
                <c:pt idx="700">
                  <c:v>42545</c:v>
                </c:pt>
                <c:pt idx="701">
                  <c:v>42544</c:v>
                </c:pt>
                <c:pt idx="702">
                  <c:v>42543</c:v>
                </c:pt>
                <c:pt idx="703">
                  <c:v>42542</c:v>
                </c:pt>
                <c:pt idx="704">
                  <c:v>42541</c:v>
                </c:pt>
                <c:pt idx="705">
                  <c:v>42538</c:v>
                </c:pt>
                <c:pt idx="706">
                  <c:v>42537</c:v>
                </c:pt>
                <c:pt idx="707">
                  <c:v>42536</c:v>
                </c:pt>
                <c:pt idx="708">
                  <c:v>42535</c:v>
                </c:pt>
                <c:pt idx="709">
                  <c:v>42534</c:v>
                </c:pt>
                <c:pt idx="710">
                  <c:v>42531</c:v>
                </c:pt>
                <c:pt idx="711">
                  <c:v>42530</c:v>
                </c:pt>
                <c:pt idx="712">
                  <c:v>42529</c:v>
                </c:pt>
                <c:pt idx="713">
                  <c:v>42528</c:v>
                </c:pt>
                <c:pt idx="714">
                  <c:v>42527</c:v>
                </c:pt>
                <c:pt idx="715">
                  <c:v>42524</c:v>
                </c:pt>
                <c:pt idx="716">
                  <c:v>42523</c:v>
                </c:pt>
                <c:pt idx="717">
                  <c:v>42522</c:v>
                </c:pt>
                <c:pt idx="718">
                  <c:v>42521</c:v>
                </c:pt>
                <c:pt idx="719">
                  <c:v>42520</c:v>
                </c:pt>
                <c:pt idx="720">
                  <c:v>42517</c:v>
                </c:pt>
                <c:pt idx="721">
                  <c:v>42516</c:v>
                </c:pt>
                <c:pt idx="722">
                  <c:v>42515</c:v>
                </c:pt>
                <c:pt idx="723">
                  <c:v>42514</c:v>
                </c:pt>
                <c:pt idx="724">
                  <c:v>42513</c:v>
                </c:pt>
                <c:pt idx="725">
                  <c:v>42510</c:v>
                </c:pt>
                <c:pt idx="726">
                  <c:v>42509</c:v>
                </c:pt>
                <c:pt idx="727">
                  <c:v>42508</c:v>
                </c:pt>
                <c:pt idx="728">
                  <c:v>42503</c:v>
                </c:pt>
                <c:pt idx="729">
                  <c:v>42502</c:v>
                </c:pt>
                <c:pt idx="730">
                  <c:v>42501</c:v>
                </c:pt>
                <c:pt idx="731">
                  <c:v>42500</c:v>
                </c:pt>
                <c:pt idx="732">
                  <c:v>42499</c:v>
                </c:pt>
                <c:pt idx="733">
                  <c:v>42496</c:v>
                </c:pt>
                <c:pt idx="734">
                  <c:v>42494</c:v>
                </c:pt>
                <c:pt idx="735">
                  <c:v>42493</c:v>
                </c:pt>
                <c:pt idx="736">
                  <c:v>42492</c:v>
                </c:pt>
                <c:pt idx="737">
                  <c:v>42489</c:v>
                </c:pt>
                <c:pt idx="738">
                  <c:v>42488</c:v>
                </c:pt>
                <c:pt idx="739">
                  <c:v>42487</c:v>
                </c:pt>
                <c:pt idx="740">
                  <c:v>42486</c:v>
                </c:pt>
                <c:pt idx="741">
                  <c:v>42485</c:v>
                </c:pt>
                <c:pt idx="742">
                  <c:v>42482</c:v>
                </c:pt>
                <c:pt idx="743">
                  <c:v>42481</c:v>
                </c:pt>
                <c:pt idx="744">
                  <c:v>42480</c:v>
                </c:pt>
                <c:pt idx="745">
                  <c:v>42479</c:v>
                </c:pt>
                <c:pt idx="746">
                  <c:v>42478</c:v>
                </c:pt>
                <c:pt idx="747">
                  <c:v>42475</c:v>
                </c:pt>
                <c:pt idx="748">
                  <c:v>42474</c:v>
                </c:pt>
                <c:pt idx="749">
                  <c:v>42473</c:v>
                </c:pt>
                <c:pt idx="750">
                  <c:v>42472</c:v>
                </c:pt>
                <c:pt idx="751">
                  <c:v>42471</c:v>
                </c:pt>
                <c:pt idx="752">
                  <c:v>42468</c:v>
                </c:pt>
                <c:pt idx="753">
                  <c:v>42467</c:v>
                </c:pt>
                <c:pt idx="754">
                  <c:v>42466</c:v>
                </c:pt>
                <c:pt idx="755">
                  <c:v>42465</c:v>
                </c:pt>
                <c:pt idx="756">
                  <c:v>42464</c:v>
                </c:pt>
                <c:pt idx="757">
                  <c:v>42461</c:v>
                </c:pt>
                <c:pt idx="758">
                  <c:v>42460</c:v>
                </c:pt>
              </c:numCache>
            </c:numRef>
          </c:cat>
          <c:val>
            <c:numRef>
              <c:f>'Ark1'!$C$2:$C$760</c:f>
              <c:numCache>
                <c:formatCode>General</c:formatCode>
                <c:ptCount val="759"/>
                <c:pt idx="3" formatCode="_ * #,##0.0_ ;_ * \-#,##0.0_ ;_ * &quot;-&quot;??_ ;_ @_ ">
                  <c:v>33.601510512349456</c:v>
                </c:pt>
                <c:pt idx="4" formatCode="_ * #,##0.0_ ;_ * \-#,##0.0_ ;_ * &quot;-&quot;??_ ;_ @_ ">
                  <c:v>33.740559297815878</c:v>
                </c:pt>
                <c:pt idx="5" formatCode="_ * #,##0.0_ ;_ * \-#,##0.0_ ;_ * &quot;-&quot;??_ ;_ @_ ">
                  <c:v>33.643614343063206</c:v>
                </c:pt>
                <c:pt idx="6" formatCode="_ * #,##0.0_ ;_ * \-#,##0.0_ ;_ * &quot;-&quot;??_ ;_ @_ ">
                  <c:v>33.587004150506907</c:v>
                </c:pt>
                <c:pt idx="7" formatCode="_ * #,##0.0_ ;_ * \-#,##0.0_ ;_ * &quot;-&quot;??_ ;_ @_ ">
                  <c:v>33.528801796284959</c:v>
                </c:pt>
                <c:pt idx="8" formatCode="_ * #,##0.0_ ;_ * \-#,##0.0_ ;_ * &quot;-&quot;??_ ;_ @_ ">
                  <c:v>33.586119616248212</c:v>
                </c:pt>
                <c:pt idx="9" formatCode="_ * #,##0.0_ ;_ * \-#,##0.0_ ;_ * &quot;-&quot;??_ ;_ @_ ">
                  <c:v>33.859263795332382</c:v>
                </c:pt>
                <c:pt idx="10" formatCode="_ * #,##0.0_ ;_ * \-#,##0.0_ ;_ * &quot;-&quot;??_ ;_ @_ ">
                  <c:v>33.946832686942919</c:v>
                </c:pt>
                <c:pt idx="11" formatCode="_ * #,##0.0_ ;_ * \-#,##0.0_ ;_ * &quot;-&quot;??_ ;_ @_ ">
                  <c:v>33.821405729060352</c:v>
                </c:pt>
                <c:pt idx="12" formatCode="_ * #,##0.0_ ;_ * \-#,##0.0_ ;_ * &quot;-&quot;??_ ;_ @_ ">
                  <c:v>33.681118595631759</c:v>
                </c:pt>
                <c:pt idx="13" formatCode="_ * #,##0.0_ ;_ * \-#,##0.0_ ;_ * &quot;-&quot;??_ ;_ @_ ">
                  <c:v>33.587357964210383</c:v>
                </c:pt>
                <c:pt idx="14" formatCode="_ * #,##0.0_ ;_ * \-#,##0.0_ ;_ * &quot;-&quot;??_ ;_ @_ ">
                  <c:v>33.334734979927873</c:v>
                </c:pt>
                <c:pt idx="15" formatCode="_ * #,##0.0_ ;_ * \-#,##0.0_ ;_ * &quot;-&quot;??_ ;_ @_ ">
                  <c:v>33.315629039940127</c:v>
                </c:pt>
                <c:pt idx="16" formatCode="_ * #,##0.0_ ;_ * \-#,##0.0_ ;_ * &quot;-&quot;??_ ;_ @_ ">
                  <c:v>33.093257127304895</c:v>
                </c:pt>
                <c:pt idx="17" formatCode="_ * #,##0.0_ ;_ * \-#,##0.0_ ;_ * &quot;-&quot;??_ ;_ @_ ">
                  <c:v>33.079812206572768</c:v>
                </c:pt>
                <c:pt idx="18" formatCode="_ * #,##0.0_ ;_ * \-#,##0.0_ ;_ * &quot;-&quot;??_ ;_ @_ ">
                  <c:v>33.016833367353883</c:v>
                </c:pt>
                <c:pt idx="19" formatCode="_ * #,##0.0_ ;_ * \-#,##0.0_ ;_ * &quot;-&quot;??_ ;_ @_ ">
                  <c:v>33.061060080288492</c:v>
                </c:pt>
                <c:pt idx="20" formatCode="_ * #,##0.0_ ;_ * \-#,##0.0_ ;_ * &quot;-&quot;??_ ;_ @_ ">
                  <c:v>33.183656528543239</c:v>
                </c:pt>
                <c:pt idx="21" formatCode="_ * #,##0.0_ ;_ * \-#,##0.0_ ;_ * &quot;-&quot;??_ ;_ @_ ">
                  <c:v>33.191617336871474</c:v>
                </c:pt>
                <c:pt idx="22" formatCode="_ * #,##0.0_ ;_ * \-#,##0.0_ ;_ * &quot;-&quot;??_ ;_ @_ ">
                  <c:v>33.293692590324554</c:v>
                </c:pt>
                <c:pt idx="23" formatCode="_ * #,##0.0_ ;_ * \-#,##0.0_ ;_ * &quot;-&quot;??_ ;_ @_ ">
                  <c:v>33.482098387426007</c:v>
                </c:pt>
                <c:pt idx="24" formatCode="_ * #,##0.0_ ;_ * \-#,##0.0_ ;_ * &quot;-&quot;??_ ;_ @_ ">
                  <c:v>33.610532761788122</c:v>
                </c:pt>
                <c:pt idx="25" formatCode="_ * #,##0.0_ ;_ * \-#,##0.0_ ;_ * &quot;-&quot;??_ ;_ @_ ">
                  <c:v>33.552330407566167</c:v>
                </c:pt>
                <c:pt idx="26" formatCode="_ * #,##0.0_ ;_ * \-#,##0.0_ ;_ * &quot;-&quot;??_ ;_ @_ ">
                  <c:v>33.543308158127509</c:v>
                </c:pt>
                <c:pt idx="27" formatCode="_ * #,##0.0_ ;_ * \-#,##0.0_ ;_ * &quot;-&quot;??_ ;_ @_ ">
                  <c:v>33.390637545077226</c:v>
                </c:pt>
                <c:pt idx="28" formatCode="_ * #,##0.0_ ;_ * \-#,##0.0_ ;_ * &quot;-&quot;??_ ;_ @_ ">
                  <c:v>33.416996665986254</c:v>
                </c:pt>
                <c:pt idx="29" formatCode="_ * #,##0.0_ ;_ * \-#,##0.0_ ;_ * &quot;-&quot;??_ ;_ @_ ">
                  <c:v>33.104048445260936</c:v>
                </c:pt>
                <c:pt idx="30" formatCode="_ * #,##0.0_ ;_ * \-#,##0.0_ ;_ * &quot;-&quot;??_ ;_ @_ ">
                  <c:v>33.024971082533852</c:v>
                </c:pt>
                <c:pt idx="31" formatCode="_ * #,##0.0_ ;_ * \-#,##0.0_ ;_ * &quot;-&quot;??_ ;_ @_ ">
                  <c:v>32.968183983125805</c:v>
                </c:pt>
                <c:pt idx="32" formatCode="_ * #,##0.0_ ;_ * \-#,##0.0_ ;_ * &quot;-&quot;??_ ;_ @_ ">
                  <c:v>32.96800707627407</c:v>
                </c:pt>
                <c:pt idx="33" formatCode="_ * #,##0.0_ ;_ * \-#,##0.0_ ;_ * &quot;-&quot;??_ ;_ @_ ">
                  <c:v>32.656297203510917</c:v>
                </c:pt>
                <c:pt idx="34" formatCode="_ * #,##0.0_ ;_ * \-#,##0.0_ ;_ * &quot;-&quot;??_ ;_ @_ ">
                  <c:v>32.457100088453423</c:v>
                </c:pt>
                <c:pt idx="35" formatCode="_ * #,##0.0_ ;_ * \-#,##0.0_ ;_ * &quot;-&quot;??_ ;_ @_ ">
                  <c:v>32.666380894060012</c:v>
                </c:pt>
                <c:pt idx="36" formatCode="_ * #,##0.0_ ;_ * \-#,##0.0_ ;_ * &quot;-&quot;??_ ;_ @_ ">
                  <c:v>32.727767571613256</c:v>
                </c:pt>
                <c:pt idx="37" formatCode="_ * #,##0.0_ ;_ * \-#,##0.0_ ;_ * &quot;-&quot;??_ ;_ @_ ">
                  <c:v>32.519548207117097</c:v>
                </c:pt>
                <c:pt idx="38" formatCode="_ * #,##0.0_ ;_ * \-#,##0.0_ ;_ * &quot;-&quot;??_ ;_ @_ ">
                  <c:v>32.486997346397224</c:v>
                </c:pt>
                <c:pt idx="39" formatCode="_ * #,##0.0_ ;_ * \-#,##0.0_ ;_ * &quot;-&quot;??_ ;_ @_ ">
                  <c:v>32.552275974688712</c:v>
                </c:pt>
                <c:pt idx="40" formatCode="_ * #,##0.0_ ;_ * \-#,##0.0_ ;_ * &quot;-&quot;??_ ;_ @_ ">
                  <c:v>32.525916853779684</c:v>
                </c:pt>
                <c:pt idx="41" formatCode="_ * #,##0.0_ ;_ * \-#,##0.0_ ;_ * &quot;-&quot;??_ ;_ @_ ">
                  <c:v>32.273824590052385</c:v>
                </c:pt>
                <c:pt idx="42" formatCode="_ * #,##0.0_ ;_ * \-#,##0.0_ ;_ * &quot;-&quot;??_ ;_ @_ ">
                  <c:v>32.074627474994891</c:v>
                </c:pt>
                <c:pt idx="43" formatCode="_ * #,##0.0_ ;_ * \-#,##0.0_ ;_ * &quot;-&quot;??_ ;_ @_ ">
                  <c:v>32.277008913383682</c:v>
                </c:pt>
                <c:pt idx="44" formatCode="_ * #,##0.0_ ;_ * \-#,##0.0_ ;_ * &quot;-&quot;??_ ;_ @_ ">
                  <c:v>31.979805402463089</c:v>
                </c:pt>
                <c:pt idx="45" formatCode="_ * #,##0.0_ ;_ * \-#,##0.0_ ;_ * &quot;-&quot;??_ ;_ @_ ">
                  <c:v>31.999442063006054</c:v>
                </c:pt>
                <c:pt idx="46" formatCode="_ * #,##0.0_ ;_ * \-#,##0.0_ ;_ * &quot;-&quot;??_ ;_ @_ ">
                  <c:v>31.906035245288152</c:v>
                </c:pt>
                <c:pt idx="47" formatCode="_ * #,##0.0_ ;_ * \-#,##0.0_ ;_ * &quot;-&quot;??_ ;_ @_ ">
                  <c:v>31.801306389058993</c:v>
                </c:pt>
                <c:pt idx="48" formatCode="_ * #,##0.0_ ;_ * \-#,##0.0_ ;_ * &quot;-&quot;??_ ;_ @_ ">
                  <c:v>31.931863645641968</c:v>
                </c:pt>
                <c:pt idx="49" formatCode="_ * #,##0.0_ ;_ * \-#,##0.0_ ;_ * &quot;-&quot;??_ ;_ @_ ">
                  <c:v>31.889759814928219</c:v>
                </c:pt>
                <c:pt idx="50" formatCode="_ * #,##0.0_ ;_ * \-#,##0.0_ ;_ * &quot;-&quot;??_ ;_ @_ ">
                  <c:v>31.832265088113221</c:v>
                </c:pt>
                <c:pt idx="51" formatCode="_ * #,##0.0_ ;_ * \-#,##0.0_ ;_ * &quot;-&quot;??_ ;_ @_ ">
                  <c:v>32.023678301694225</c:v>
                </c:pt>
                <c:pt idx="52" formatCode="_ * #,##0.0_ ;_ * \-#,##0.0_ ;_ * &quot;-&quot;??_ ;_ @_ ">
                  <c:v>32.18006395863101</c:v>
                </c:pt>
                <c:pt idx="53" formatCode="_ * #,##0.0_ ;_ * \-#,##0.0_ ;_ * &quot;-&quot;??_ ;_ @_ ">
                  <c:v>32.049683608899777</c:v>
                </c:pt>
                <c:pt idx="54" formatCode="_ * #,##0.0_ ;_ * \-#,##0.0_ ;_ * &quot;-&quot;??_ ;_ @_ ">
                  <c:v>31.929917670272847</c:v>
                </c:pt>
                <c:pt idx="55" formatCode="_ * #,##0.0_ ;_ * \-#,##0.0_ ;_ * &quot;-&quot;??_ ;_ @_ ">
                  <c:v>32.048975981492823</c:v>
                </c:pt>
                <c:pt idx="56" formatCode="_ * #,##0.0_ ;_ * \-#,##0.0_ ;_ * &quot;-&quot;??_ ;_ @_ ">
                  <c:v>31.911342450840305</c:v>
                </c:pt>
                <c:pt idx="57" formatCode="_ * #,##0.0_ ;_ * \-#,##0.0_ ;_ * &quot;-&quot;??_ ;_ @_ ">
                  <c:v>31.669687691365585</c:v>
                </c:pt>
                <c:pt idx="58" formatCode="_ * #,##0.0_ ;_ * \-#,##0.0_ ;_ * &quot;-&quot;??_ ;_ @_ ">
                  <c:v>31.793699394434238</c:v>
                </c:pt>
                <c:pt idx="59" formatCode="_ * #,##0.0_ ;_ * \-#,##0.0_ ;_ * &quot;-&quot;??_ ;_ @_ ">
                  <c:v>31.581234265496363</c:v>
                </c:pt>
                <c:pt idx="60" formatCode="_ * #,##0.0_ ;_ * \-#,##0.0_ ;_ * &quot;-&quot;??_ ;_ @_ ">
                  <c:v>31.689855072463768</c:v>
                </c:pt>
                <c:pt idx="61" formatCode="_ * #,##0.0_ ;_ * \-#,##0.0_ ;_ * &quot;-&quot;??_ ;_ @_ ">
                  <c:v>31.726651697625364</c:v>
                </c:pt>
                <c:pt idx="62" formatCode="_ * #,##0.0_ ;_ * \-#,##0.0_ ;_ * &quot;-&quot;??_ ;_ @_ ">
                  <c:v>31.768047900932164</c:v>
                </c:pt>
                <c:pt idx="63" formatCode="_ * #,##0.0_ ;_ * \-#,##0.0_ ;_ * &quot;-&quot;??_ ;_ @_ ">
                  <c:v>31.774770361298227</c:v>
                </c:pt>
                <c:pt idx="64" formatCode="_ * #,##0.0_ ;_ * \-#,##0.0_ ;_ * &quot;-&quot;??_ ;_ @_ ">
                  <c:v>31.602816901408453</c:v>
                </c:pt>
                <c:pt idx="65" formatCode="_ * #,##0.0_ ;_ * \-#,##0.0_ ;_ * &quot;-&quot;??_ ;_ @_ ">
                  <c:v>31.078995713410901</c:v>
                </c:pt>
                <c:pt idx="66" formatCode="_ * #,##0.0_ ;_ * \-#,##0.0_ ;_ * &quot;-&quot;??_ ;_ @_ ">
                  <c:v>31.067850581751379</c:v>
                </c:pt>
                <c:pt idx="67" formatCode="_ * #,##0.0_ ;_ * \-#,##0.0_ ;_ * &quot;-&quot;??_ ;_ @_ ">
                  <c:v>30.670871606450294</c:v>
                </c:pt>
                <c:pt idx="68" formatCode="_ * #,##0.0_ ;_ * \-#,##0.0_ ;_ * &quot;-&quot;??_ ;_ @_ ">
                  <c:v>30.38375178607879</c:v>
                </c:pt>
                <c:pt idx="69" formatCode="_ * #,##0.0_ ;_ * \-#,##0.0_ ;_ * &quot;-&quot;??_ ;_ @_ ">
                  <c:v>30.37455262978839</c:v>
                </c:pt>
                <c:pt idx="70" formatCode="_ * #,##0.0_ ;_ * \-#,##0.0_ ;_ * &quot;-&quot;??_ ;_ @_ ">
                  <c:v>30.823719126352316</c:v>
                </c:pt>
                <c:pt idx="71" formatCode="_ * #,##0.0_ ;_ * \-#,##0.0_ ;_ * &quot;-&quot;??_ ;_ @_ ">
                  <c:v>30.75684833639518</c:v>
                </c:pt>
                <c:pt idx="72" formatCode="_ * #,##0.0_ ;_ * \-#,##0.0_ ;_ * &quot;-&quot;??_ ;_ @_ ">
                  <c:v>31.095978771177791</c:v>
                </c:pt>
                <c:pt idx="73" formatCode="_ * #,##0.0_ ;_ * \-#,##0.0_ ;_ * &quot;-&quot;??_ ;_ @_ ">
                  <c:v>31.4871198203715</c:v>
                </c:pt>
                <c:pt idx="74" formatCode="_ * #,##0.0_ ;_ * \-#,##0.0_ ;_ * &quot;-&quot;??_ ;_ @_ ">
                  <c:v>31.719929237259304</c:v>
                </c:pt>
                <c:pt idx="75" formatCode="_ * #,##0.0_ ;_ * \-#,##0.0_ ;_ * &quot;-&quot;??_ ;_ @_ ">
                  <c:v>31.500741647955369</c:v>
                </c:pt>
                <c:pt idx="76" formatCode="_ * #,##0.0_ ;_ * \-#,##0.0_ ;_ * &quot;-&quot;??_ ;_ @_ ">
                  <c:v>31.312689664557393</c:v>
                </c:pt>
                <c:pt idx="77" formatCode="_ * #,##0.0_ ;_ * \-#,##0.0_ ;_ * &quot;-&quot;??_ ;_ @_ ">
                  <c:v>31.198761652037831</c:v>
                </c:pt>
                <c:pt idx="78" formatCode="_ * #,##0.0_ ;_ * \-#,##0.0_ ;_ * &quot;-&quot;??_ ;_ @_ ">
                  <c:v>31.669864598217327</c:v>
                </c:pt>
                <c:pt idx="79" formatCode="_ * #,##0.0_ ;_ * \-#,##0.0_ ;_ * &quot;-&quot;??_ ;_ @_ ">
                  <c:v>31.135605905967203</c:v>
                </c:pt>
                <c:pt idx="80" formatCode="_ * #,##0.0_ ;_ * \-#,##0.0_ ;_ * &quot;-&quot;??_ ;_ @_ ">
                  <c:v>31.786269306661222</c:v>
                </c:pt>
                <c:pt idx="81" formatCode="_ * #,##0.0_ ;_ * \-#,##0.0_ ;_ * &quot;-&quot;??_ ;_ @_ ">
                  <c:v>32.004041641151254</c:v>
                </c:pt>
                <c:pt idx="82" formatCode="_ * #,##0.0_ ;_ * \-#,##0.0_ ;_ * &quot;-&quot;??_ ;_ @_ ">
                  <c:v>31.851194121249236</c:v>
                </c:pt>
                <c:pt idx="83" formatCode="_ * #,##0.0_ ;_ * \-#,##0.0_ ;_ * &quot;-&quot;??_ ;_ @_ ">
                  <c:v>31.441300945771246</c:v>
                </c:pt>
                <c:pt idx="84" formatCode="_ * #,##0.0_ ;_ * \-#,##0.0_ ;_ * &quot;-&quot;??_ ;_ @_ ">
                  <c:v>31.597863509559776</c:v>
                </c:pt>
                <c:pt idx="85" formatCode="_ * #,##0.0_ ;_ * \-#,##0.0_ ;_ * &quot;-&quot;??_ ;_ @_ ">
                  <c:v>31.377791385997142</c:v>
                </c:pt>
                <c:pt idx="86" formatCode="_ * #,##0.0_ ;_ * \-#,##0.0_ ;_ * &quot;-&quot;??_ ;_ @_ ">
                  <c:v>31.436701367626046</c:v>
                </c:pt>
                <c:pt idx="87" formatCode="_ * #,##0.0_ ;_ * \-#,##0.0_ ;_ * &quot;-&quot;??_ ;_ @_ ">
                  <c:v>31.321004286589101</c:v>
                </c:pt>
                <c:pt idx="88" formatCode="_ * #,##0.0_ ;_ * \-#,##0.0_ ;_ * &quot;-&quot;??_ ;_ @_ ">
                  <c:v>31.016547594747227</c:v>
                </c:pt>
                <c:pt idx="89" formatCode="_ * #,##0.0_ ;_ * \-#,##0.0_ ;_ * &quot;-&quot;??_ ;_ @_ ">
                  <c:v>31.185139824453969</c:v>
                </c:pt>
                <c:pt idx="90" formatCode="_ * #,##0.0_ ;_ * \-#,##0.0_ ;_ * &quot;-&quot;??_ ;_ @_ ">
                  <c:v>31.256433285704563</c:v>
                </c:pt>
                <c:pt idx="91" formatCode="_ * #,##0.0_ ;_ * \-#,##0.0_ ;_ * &quot;-&quot;??_ ;_ @_ ">
                  <c:v>30.984527454582569</c:v>
                </c:pt>
                <c:pt idx="92" formatCode="_ * #,##0.0_ ;_ * \-#,##0.0_ ;_ * &quot;-&quot;??_ ;_ @_ ">
                  <c:v>31.532761788120027</c:v>
                </c:pt>
                <c:pt idx="93" formatCode="_ * #,##0.0_ ;_ * \-#,##0.0_ ;_ * &quot;-&quot;??_ ;_ @_ ">
                  <c:v>31.670041505069062</c:v>
                </c:pt>
                <c:pt idx="94" formatCode="_ * #,##0.0_ ;_ * \-#,##0.0_ ;_ * &quot;-&quot;??_ ;_ @_ ">
                  <c:v>31.490127236851055</c:v>
                </c:pt>
                <c:pt idx="95" formatCode="_ * #,##0.0_ ;_ * \-#,##0.0_ ;_ * &quot;-&quot;??_ ;_ @_ ">
                  <c:v>31.874545825678709</c:v>
                </c:pt>
                <c:pt idx="96" formatCode="_ * #,##0.0_ ;_ * \-#,##0.0_ ;_ * &quot;-&quot;??_ ;_ @_ ">
                  <c:v>31.947962169150166</c:v>
                </c:pt>
                <c:pt idx="97" formatCode="_ * #,##0.0_ ;_ * \-#,##0.0_ ;_ * &quot;-&quot;??_ ;_ @_ ">
                  <c:v>31.883921888820847</c:v>
                </c:pt>
                <c:pt idx="98" formatCode="_ * #,##0.0_ ;_ * \-#,##0.0_ ;_ * &quot;-&quot;??_ ;_ @_ ">
                  <c:v>32.113723889229092</c:v>
                </c:pt>
                <c:pt idx="99" formatCode="_ * #,##0.0_ ;_ * \-#,##0.0_ ;_ * &quot;-&quot;??_ ;_ @_ ">
                  <c:v>32.302837313737498</c:v>
                </c:pt>
                <c:pt idx="100" formatCode="_ * #,##0.0_ ;_ * \-#,##0.0_ ;_ * &quot;-&quot;??_ ;_ @_ ">
                  <c:v>32.31645914132136</c:v>
                </c:pt>
                <c:pt idx="101" formatCode="_ * #,##0.0_ ;_ * \-#,##0.0_ ;_ * &quot;-&quot;??_ ;_ @_ ">
                  <c:v>32.007579778186027</c:v>
                </c:pt>
                <c:pt idx="102" formatCode="_ * #,##0.0_ ;_ * \-#,##0.0_ ;_ * &quot;-&quot;??_ ;_ @_ ">
                  <c:v>32.082942097026603</c:v>
                </c:pt>
                <c:pt idx="103" formatCode="_ * #,##0.0_ ;_ * \-#,##0.0_ ;_ * &quot;-&quot;??_ ;_ @_ ">
                  <c:v>32.270286453017626</c:v>
                </c:pt>
                <c:pt idx="104" formatCode="_ * #,##0.0_ ;_ * \-#,##0.0_ ;_ * &quot;-&quot;??_ ;_ @_ ">
                  <c:v>32.083295910730079</c:v>
                </c:pt>
                <c:pt idx="105" formatCode="_ * #,##0.0_ ;_ * \-#,##0.0_ ;_ * &quot;-&quot;??_ ;_ @_ ">
                  <c:v>31.903558549363819</c:v>
                </c:pt>
                <c:pt idx="106" formatCode="_ * #,##0.0_ ;_ * \-#,##0.0_ ;_ * &quot;-&quot;??_ ;_ @_ ">
                  <c:v>31.618561611213174</c:v>
                </c:pt>
                <c:pt idx="107" formatCode="_ * #,##0.0_ ;_ * \-#,##0.0_ ;_ * &quot;-&quot;??_ ;_ @_ ">
                  <c:v>31.820943049601958</c:v>
                </c:pt>
                <c:pt idx="108" formatCode="_ * #,##0.0_ ;_ * \-#,##0.0_ ;_ * &quot;-&quot;??_ ;_ @_ ">
                  <c:v>31.350193917125946</c:v>
                </c:pt>
                <c:pt idx="109" formatCode="_ * #,##0.0_ ;_ * \-#,##0.0_ ;_ * &quot;-&quot;??_ ;_ @_ ">
                  <c:v>31.379737361366264</c:v>
                </c:pt>
                <c:pt idx="110" formatCode="_ * #,##0.0_ ;_ * \-#,##0.0_ ;_ * &quot;-&quot;??_ ;_ @_ ">
                  <c:v>31.617853983806217</c:v>
                </c:pt>
                <c:pt idx="111" formatCode="_ * #,##0.0_ ;_ * \-#,##0.0_ ;_ * &quot;-&quot;??_ ;_ @_ ">
                  <c:v>31.240865482751584</c:v>
                </c:pt>
                <c:pt idx="112" formatCode="_ * #,##0.0_ ;_ * \-#,##0.0_ ;_ * &quot;-&quot;??_ ;_ @_ ">
                  <c:v>31.859331836429202</c:v>
                </c:pt>
                <c:pt idx="113" formatCode="_ * #,##0.0_ ;_ * \-#,##0.0_ ;_ * &quot;-&quot;??_ ;_ @_ ">
                  <c:v>32.389167857385857</c:v>
                </c:pt>
                <c:pt idx="114" formatCode="_ * #,##0.0_ ;_ * \-#,##0.0_ ;_ * &quot;-&quot;??_ ;_ @_ ">
                  <c:v>32.145567122542012</c:v>
                </c:pt>
                <c:pt idx="115" formatCode="_ * #,##0.0_ ;_ * \-#,##0.0_ ;_ * &quot;-&quot;??_ ;_ @_ ">
                  <c:v>31.94513165952235</c:v>
                </c:pt>
                <c:pt idx="116" formatCode="_ * #,##0.0_ ;_ * \-#,##0.0_ ;_ * &quot;-&quot;??_ ;_ @_ ">
                  <c:v>31.781315914812549</c:v>
                </c:pt>
                <c:pt idx="117" formatCode="_ * #,##0.0_ ;_ * \-#,##0.0_ ;_ * &quot;-&quot;??_ ;_ @_ ">
                  <c:v>31.55257535551473</c:v>
                </c:pt>
                <c:pt idx="118" formatCode="_ * #,##0.0_ ;_ * \-#,##0.0_ ;_ * &quot;-&quot;??_ ;_ @_ ">
                  <c:v>31.63483704157311</c:v>
                </c:pt>
                <c:pt idx="119" formatCode="_ * #,##0.0_ ;_ * \-#,##0.0_ ;_ * &quot;-&quot;??_ ;_ @_ ">
                  <c:v>31.842348778662313</c:v>
                </c:pt>
                <c:pt idx="120" formatCode="_ * #,##0.0_ ;_ * \-#,##0.0_ ;_ * &quot;-&quot;??_ ;_ @_ ">
                  <c:v>32.638075797781859</c:v>
                </c:pt>
                <c:pt idx="121" formatCode="_ * #,##0.0_ ;_ * \-#,##0.0_ ;_ * &quot;-&quot;??_ ;_ @_ ">
                  <c:v>32.805960400081652</c:v>
                </c:pt>
                <c:pt idx="122" formatCode="_ * #,##0.0_ ;_ * \-#,##0.0_ ;_ * &quot;-&quot;??_ ;_ @_ ">
                  <c:v>32.886276110770908</c:v>
                </c:pt>
                <c:pt idx="123" formatCode="_ * #,##0.0_ ;_ * \-#,##0.0_ ;_ * &quot;-&quot;??_ ;_ @_ ">
                  <c:v>33.082288902497105</c:v>
                </c:pt>
                <c:pt idx="124" formatCode="_ * #,##0.0_ ;_ * \-#,##0.0_ ;_ * &quot;-&quot;??_ ;_ @_ ">
                  <c:v>32.987820643668776</c:v>
                </c:pt>
                <c:pt idx="125" formatCode="_ * #,##0.0_ ;_ * \-#,##0.0_ ;_ * &quot;-&quot;??_ ;_ @_ ">
                  <c:v>33.059114104919374</c:v>
                </c:pt>
                <c:pt idx="126" formatCode="_ * #,##0.0_ ;_ * \-#,##0.0_ ;_ * &quot;-&quot;??_ ;_ @_ ">
                  <c:v>33.162250799482891</c:v>
                </c:pt>
                <c:pt idx="127" formatCode="_ * #,##0.0_ ;_ * \-#,##0.0_ ;_ * &quot;-&quot;??_ ;_ @_ ">
                  <c:v>33.032578077158604</c:v>
                </c:pt>
                <c:pt idx="128" formatCode="_ * #,##0.0_ ;_ * \-#,##0.0_ ;_ * &quot;-&quot;??_ ;_ @_ ">
                  <c:v>33.015241205688234</c:v>
                </c:pt>
                <c:pt idx="129" formatCode="_ * #,##0.0_ ;_ * \-#,##0.0_ ;_ * &quot;-&quot;??_ ;_ @_ ">
                  <c:v>33.107409675443968</c:v>
                </c:pt>
                <c:pt idx="130" formatCode="_ * #,##0.0_ ;_ * \-#,##0.0_ ;_ * &quot;-&quot;??_ ;_ @_ ">
                  <c:v>33.211077090562696</c:v>
                </c:pt>
                <c:pt idx="131" formatCode="_ * #,##0.0_ ;_ * \-#,##0.0_ ;_ * &quot;-&quot;??_ ;_ @_ ">
                  <c:v>33.149336599305983</c:v>
                </c:pt>
                <c:pt idx="132" formatCode="_ * #,##0.0_ ;_ * \-#,##0.0_ ;_ * &quot;-&quot;??_ ;_ @_ ">
                  <c:v>32.925726338708586</c:v>
                </c:pt>
                <c:pt idx="133" formatCode="_ * #,##0.0_ ;_ * \-#,##0.0_ ;_ * &quot;-&quot;??_ ;_ @_ ">
                  <c:v>32.89653670817173</c:v>
                </c:pt>
                <c:pt idx="134" formatCode="_ * #,##0.0_ ;_ * \-#,##0.0_ ;_ * &quot;-&quot;??_ ;_ @_ ">
                  <c:v>32.792869293053009</c:v>
                </c:pt>
                <c:pt idx="135" formatCode="_ * #,##0.0_ ;_ * \-#,##0.0_ ;_ * &quot;-&quot;??_ ;_ @_ ">
                  <c:v>32.7905695039804</c:v>
                </c:pt>
                <c:pt idx="136" formatCode="_ * #,##0.0_ ;_ * \-#,##0.0_ ;_ * &quot;-&quot;??_ ;_ @_ ">
                  <c:v>32.828250663400695</c:v>
                </c:pt>
                <c:pt idx="137" formatCode="_ * #,##0.0_ ;_ * \-#,##0.0_ ;_ * &quot;-&quot;??_ ;_ @_ ">
                  <c:v>32.969422331087976</c:v>
                </c:pt>
                <c:pt idx="138" formatCode="_ * #,##0.0_ ;_ * \-#,##0.0_ ;_ * &quot;-&quot;??_ ;_ @_ ">
                  <c:v>32.700700823297275</c:v>
                </c:pt>
                <c:pt idx="139" formatCode="_ * #,##0.0_ ;_ * \-#,##0.0_ ;_ * &quot;-&quot;??_ ;_ @_ ">
                  <c:v>32.78526229842825</c:v>
                </c:pt>
                <c:pt idx="140" formatCode="_ * #,##0.0_ ;_ * \-#,##0.0_ ;_ * &quot;-&quot;??_ ;_ @_ ">
                  <c:v>32.751473089746206</c:v>
                </c:pt>
                <c:pt idx="141" formatCode="_ * #,##0.0_ ;_ * \-#,##0.0_ ;_ * &quot;-&quot;??_ ;_ @_ ">
                  <c:v>32.712553582363753</c:v>
                </c:pt>
                <c:pt idx="142" formatCode="_ * #,##0.0_ ;_ * \-#,##0.0_ ;_ * &quot;-&quot;??_ ;_ @_ ">
                  <c:v>32.730067360685851</c:v>
                </c:pt>
                <c:pt idx="143" formatCode="_ * #,##0.0_ ;_ * \-#,##0.0_ ;_ * &quot;-&quot;??_ ;_ @_ ">
                  <c:v>32.6750493297952</c:v>
                </c:pt>
                <c:pt idx="144" formatCode="_ * #,##0.0_ ;_ * \-#,##0.0_ ;_ * &quot;-&quot;??_ ;_ @_ ">
                  <c:v>32.800653194529495</c:v>
                </c:pt>
                <c:pt idx="145" formatCode="_ * #,##0.0_ ;_ * \-#,##0.0_ ;_ * &quot;-&quot;??_ ;_ @_ ">
                  <c:v>32.525739946927942</c:v>
                </c:pt>
                <c:pt idx="146" formatCode="_ * #,##0.0_ ;_ * \-#,##0.0_ ;_ * &quot;-&quot;??_ ;_ @_ ">
                  <c:v>32.397482479417569</c:v>
                </c:pt>
                <c:pt idx="147" formatCode="_ * #,##0.0_ ;_ * \-#,##0.0_ ;_ * &quot;-&quot;??_ ;_ @_ ">
                  <c:v>32.564482547458667</c:v>
                </c:pt>
                <c:pt idx="148" formatCode="_ * #,##0.0_ ;_ * \-#,##0.0_ ;_ * &quot;-&quot;??_ ;_ @_ ">
                  <c:v>32.354494114445124</c:v>
                </c:pt>
                <c:pt idx="149" formatCode="_ * #,##0.0_ ;_ * \-#,##0.0_ ;_ * &quot;-&quot;??_ ;_ @_ ">
                  <c:v>32.327427366129143</c:v>
                </c:pt>
                <c:pt idx="150" formatCode="_ * #,##0.0_ ;_ * \-#,##0.0_ ;_ * &quot;-&quot;??_ ;_ @_ ">
                  <c:v>32.330611689460433</c:v>
                </c:pt>
                <c:pt idx="151" formatCode="_ * #,##0.0_ ;_ * \-#,##0.0_ ;_ * &quot;-&quot;??_ ;_ @_ ">
                  <c:v>32.396774852010616</c:v>
                </c:pt>
                <c:pt idx="152" formatCode="_ * #,##0.0_ ;_ * \-#,##0.0_ ;_ * &quot;-&quot;??_ ;_ @_ ">
                  <c:v>32.310090494658773</c:v>
                </c:pt>
                <c:pt idx="153" formatCode="_ * #,##0.0_ ;_ * \-#,##0.0_ ;_ * &quot;-&quot;??_ ;_ @_ ">
                  <c:v>32.455154113084298</c:v>
                </c:pt>
                <c:pt idx="154" formatCode="_ * #,##0.0_ ;_ * \-#,##0.0_ ;_ * &quot;-&quot;??_ ;_ @_ ">
                  <c:v>32.355024835000343</c:v>
                </c:pt>
                <c:pt idx="155" formatCode="_ * #,##0.0_ ;_ * \-#,##0.0_ ;_ * &quot;-&quot;??_ ;_ @_ ">
                  <c:v>32.30336803429271</c:v>
                </c:pt>
                <c:pt idx="156" formatCode="_ * #,##0.0_ ;_ * \-#,##0.0_ ;_ * &quot;-&quot;??_ ;_ @_ ">
                  <c:v>32.191385997142277</c:v>
                </c:pt>
                <c:pt idx="157" formatCode="_ * #,##0.0_ ;_ * \-#,##0.0_ ;_ * &quot;-&quot;??_ ;_ @_ ">
                  <c:v>32.114077702932569</c:v>
                </c:pt>
                <c:pt idx="158" formatCode="_ * #,##0.0_ ;_ * \-#,##0.0_ ;_ * &quot;-&quot;??_ ;_ @_ ">
                  <c:v>31.835980131999726</c:v>
                </c:pt>
                <c:pt idx="159" formatCode="_ * #,##0.0_ ;_ * \-#,##0.0_ ;_ * &quot;-&quot;??_ ;_ @_ ">
                  <c:v>31.668095529699936</c:v>
                </c:pt>
                <c:pt idx="160" formatCode="_ * #,##0.0_ ;_ * \-#,##0.0_ ;_ * &quot;-&quot;??_ ;_ @_ ">
                  <c:v>31.667387902292983</c:v>
                </c:pt>
                <c:pt idx="161" formatCode="_ * #,##0.0_ ;_ * \-#,##0.0_ ;_ * &quot;-&quot;??_ ;_ @_ ">
                  <c:v>31.561066884398173</c:v>
                </c:pt>
                <c:pt idx="162" formatCode="_ * #,##0.0_ ;_ * \-#,##0.0_ ;_ * &quot;-&quot;??_ ;_ @_ ">
                  <c:v>31.571504388650744</c:v>
                </c:pt>
                <c:pt idx="163" formatCode="_ * #,##0.0_ ;_ * \-#,##0.0_ ;_ * &quot;-&quot;??_ ;_ @_ ">
                  <c:v>31.670041505069062</c:v>
                </c:pt>
                <c:pt idx="164" formatCode="_ * #,##0.0_ ;_ * \-#,##0.0_ ;_ * &quot;-&quot;??_ ;_ @_ ">
                  <c:v>31.916118935837243</c:v>
                </c:pt>
                <c:pt idx="165" formatCode="_ * #,##0.0_ ;_ * \-#,##0.0_ ;_ * &quot;-&quot;??_ ;_ @_ ">
                  <c:v>31.29959855752875</c:v>
                </c:pt>
                <c:pt idx="166" formatCode="_ * #,##0.0_ ;_ * \-#,##0.0_ ;_ * &quot;-&quot;??_ ;_ @_ ">
                  <c:v>31.107654623392527</c:v>
                </c:pt>
                <c:pt idx="167" formatCode="_ * #,##0.0_ ;_ * \-#,##0.0_ ;_ * &quot;-&quot;??_ ;_ @_ ">
                  <c:v>30.961352657004834</c:v>
                </c:pt>
                <c:pt idx="168" formatCode="_ * #,##0.0_ ;_ * \-#,##0.0_ ;_ * &quot;-&quot;??_ ;_ @_ ">
                  <c:v>30.726597264747909</c:v>
                </c:pt>
                <c:pt idx="169" formatCode="_ * #,##0.0_ ;_ * \-#,##0.0_ ;_ * &quot;-&quot;??_ ;_ @_ ">
                  <c:v>30.689269919031094</c:v>
                </c:pt>
                <c:pt idx="170" formatCode="_ * #,##0.0_ ;_ * \-#,##0.0_ ;_ * &quot;-&quot;??_ ;_ @_ ">
                  <c:v>30.725182009933999</c:v>
                </c:pt>
                <c:pt idx="171" formatCode="_ * #,##0.0_ ;_ * \-#,##0.0_ ;_ * &quot;-&quot;??_ ;_ @_ ">
                  <c:v>30.817173572837994</c:v>
                </c:pt>
                <c:pt idx="172" formatCode="_ * #,##0.0_ ;_ * \-#,##0.0_ ;_ * &quot;-&quot;??_ ;_ @_ ">
                  <c:v>30.906688439817646</c:v>
                </c:pt>
                <c:pt idx="173" formatCode="_ * #,##0.0_ ;_ * \-#,##0.0_ ;_ * &quot;-&quot;??_ ;_ @_ ">
                  <c:v>30.890589916309452</c:v>
                </c:pt>
                <c:pt idx="174" formatCode="_ * #,##0.0_ ;_ * \-#,##0.0_ ;_ * &quot;-&quot;??_ ;_ @_ ">
                  <c:v>30.786568687487243</c:v>
                </c:pt>
                <c:pt idx="175" formatCode="_ * #,##0.0_ ;_ * \-#,##0.0_ ;_ * &quot;-&quot;??_ ;_ @_ ">
                  <c:v>30.973559229774782</c:v>
                </c:pt>
                <c:pt idx="176" formatCode="_ * #,##0.0_ ;_ * \-#,##0.0_ ;_ * &quot;-&quot;??_ ;_ @_ ">
                  <c:v>31.038484044362793</c:v>
                </c:pt>
                <c:pt idx="177" formatCode="_ * #,##0.0_ ;_ * \-#,##0.0_ ;_ * &quot;-&quot;??_ ;_ @_ ">
                  <c:v>30.735088793631352</c:v>
                </c:pt>
                <c:pt idx="178" formatCode="_ * #,##0.0_ ;_ * \-#,##0.0_ ;_ * &quot;-&quot;??_ ;_ @_ ">
                  <c:v>30.919248826291081</c:v>
                </c:pt>
                <c:pt idx="179" formatCode="_ * #,##0.0_ ;_ * \-#,##0.0_ ;_ * &quot;-&quot;??_ ;_ @_ ">
                  <c:v>30.911288017962846</c:v>
                </c:pt>
                <c:pt idx="180" formatCode="_ * #,##0.0_ ;_ * \-#,##0.0_ ;_ * &quot;-&quot;??_ ;_ @_ ">
                  <c:v>30.942246717017078</c:v>
                </c:pt>
                <c:pt idx="181" formatCode="_ * #,##0.0_ ;_ * \-#,##0.0_ ;_ * &quot;-&quot;??_ ;_ @_ ">
                  <c:v>30.878737157242977</c:v>
                </c:pt>
                <c:pt idx="182" formatCode="_ * #,##0.0_ ;_ * \-#,##0.0_ ;_ * &quot;-&quot;??_ ;_ @_ ">
                  <c:v>31.061481935088793</c:v>
                </c:pt>
                <c:pt idx="183" formatCode="_ * #,##0.0_ ;_ * \-#,##0.0_ ;_ * &quot;-&quot;??_ ;_ @_ ">
                  <c:v>31.040253112880176</c:v>
                </c:pt>
                <c:pt idx="184" formatCode="_ * #,##0.0_ ;_ * \-#,##0.0_ ;_ * &quot;-&quot;??_ ;_ @_ ">
                  <c:v>31.020616452337212</c:v>
                </c:pt>
                <c:pt idx="185" formatCode="_ * #,##0.0_ ;_ * \-#,##0.0_ ;_ * &quot;-&quot;??_ ;_ @_ ">
                  <c:v>31.191508471116556</c:v>
                </c:pt>
                <c:pt idx="186" formatCode="_ * #,##0.0_ ;_ * \-#,##0.0_ ;_ * &quot;-&quot;??_ ;_ @_ ">
                  <c:v>31.457399469279444</c:v>
                </c:pt>
                <c:pt idx="187" formatCode="_ * #,##0.0_ ;_ * \-#,##0.0_ ;_ * &quot;-&quot;??_ ;_ @_ ">
                  <c:v>31.40768864394094</c:v>
                </c:pt>
                <c:pt idx="188" formatCode="_ * #,##0.0_ ;_ * \-#,##0.0_ ;_ * &quot;-&quot;??_ ;_ @_ ">
                  <c:v>31.243695992379397</c:v>
                </c:pt>
                <c:pt idx="189" formatCode="_ * #,##0.0_ ;_ * \-#,##0.0_ ;_ * &quot;-&quot;??_ ;_ @_ ">
                  <c:v>30.973028509219567</c:v>
                </c:pt>
                <c:pt idx="190" formatCode="_ * #,##0.0_ ;_ * \-#,##0.0_ ;_ * &quot;-&quot;??_ ;_ @_ ">
                  <c:v>31.060420493978363</c:v>
                </c:pt>
                <c:pt idx="191" formatCode="_ * #,##0.0_ ;_ * \-#,##0.0_ ;_ * &quot;-&quot;??_ ;_ @_ ">
                  <c:v>30.745703204735658</c:v>
                </c:pt>
                <c:pt idx="192" formatCode="_ * #,##0.0_ ;_ * \-#,##0.0_ ;_ * &quot;-&quot;??_ ;_ @_ ">
                  <c:v>30.619391712594403</c:v>
                </c:pt>
                <c:pt idx="193" formatCode="_ * #,##0.0_ ;_ * \-#,##0.0_ ;_ * &quot;-&quot;??_ ;_ @_ ">
                  <c:v>30.649996597945158</c:v>
                </c:pt>
                <c:pt idx="194" formatCode="_ * #,##0.0_ ;_ * \-#,##0.0_ ;_ * &quot;-&quot;??_ ;_ @_ ">
                  <c:v>30.490957338232292</c:v>
                </c:pt>
                <c:pt idx="195" formatCode="_ * #,##0.0_ ;_ * \-#,##0.0_ ;_ * &quot;-&quot;??_ ;_ @_ ">
                  <c:v>30.519970061917398</c:v>
                </c:pt>
                <c:pt idx="196" formatCode="_ * #,##0.0_ ;_ * \-#,##0.0_ ;_ * &quot;-&quot;??_ ;_ @_ ">
                  <c:v>30.369422331087979</c:v>
                </c:pt>
                <c:pt idx="197" formatCode="_ * #,##0.0_ ;_ * \-#,##0.0_ ;_ * &quot;-&quot;??_ ;_ @_ ">
                  <c:v>30.283622507994828</c:v>
                </c:pt>
                <c:pt idx="198" formatCode="_ * #,##0.0_ ;_ * \-#,##0.0_ ;_ * &quot;-&quot;??_ ;_ @_ ">
                  <c:v>30.542967952643398</c:v>
                </c:pt>
                <c:pt idx="199" formatCode="_ * #,##0.0_ ;_ * \-#,##0.0_ ;_ * &quot;-&quot;??_ ;_ @_ ">
                  <c:v>30.365176566646255</c:v>
                </c:pt>
                <c:pt idx="200" formatCode="_ * #,##0.0_ ;_ * \-#,##0.0_ ;_ * &quot;-&quot;??_ ;_ @_ ">
                  <c:v>29.954929577464789</c:v>
                </c:pt>
                <c:pt idx="201" formatCode="_ * #,##0.0_ ;_ * \-#,##0.0_ ;_ * &quot;-&quot;??_ ;_ @_ ">
                  <c:v>29.829856433285705</c:v>
                </c:pt>
                <c:pt idx="202" formatCode="_ * #,##0.0_ ;_ * \-#,##0.0_ ;_ * &quot;-&quot;??_ ;_ @_ ">
                  <c:v>29.904688031571069</c:v>
                </c:pt>
                <c:pt idx="203" formatCode="_ * #,##0.0_ ;_ * \-#,##0.0_ ;_ * &quot;-&quot;??_ ;_ @_ ">
                  <c:v>29.804381846635369</c:v>
                </c:pt>
                <c:pt idx="204" formatCode="_ * #,##0.0_ ;_ * \-#,##0.0_ ;_ * &quot;-&quot;??_ ;_ @_ ">
                  <c:v>30.26540110226577</c:v>
                </c:pt>
                <c:pt idx="205" formatCode="_ * #,##0.0_ ;_ * \-#,##0.0_ ;_ * &quot;-&quot;??_ ;_ @_ ">
                  <c:v>30.309274001496906</c:v>
                </c:pt>
                <c:pt idx="206" formatCode="_ * #,##0.0_ ;_ * \-#,##0.0_ ;_ * &quot;-&quot;??_ ;_ @_ ">
                  <c:v>30.303966795944753</c:v>
                </c:pt>
                <c:pt idx="207" formatCode="_ * #,##0.0_ ;_ * \-#,##0.0_ ;_ * &quot;-&quot;??_ ;_ @_ ">
                  <c:v>30.284860855956996</c:v>
                </c:pt>
                <c:pt idx="208" formatCode="_ * #,##0.0_ ;_ * \-#,##0.0_ ;_ * &quot;-&quot;??_ ;_ @_ ">
                  <c:v>30.009063074096755</c:v>
                </c:pt>
                <c:pt idx="209" formatCode="_ * #,##0.0_ ;_ * \-#,##0.0_ ;_ * &quot;-&quot;??_ ;_ @_ ">
                  <c:v>30.092209294413824</c:v>
                </c:pt>
                <c:pt idx="210" formatCode="_ * #,##0.0_ ;_ * \-#,##0.0_ ;_ * &quot;-&quot;??_ ;_ @_ ">
                  <c:v>29.880274886031163</c:v>
                </c:pt>
                <c:pt idx="211" formatCode="_ * #,##0.0_ ;_ * \-#,##0.0_ ;_ * &quot;-&quot;??_ ;_ @_ ">
                  <c:v>29.858338436415593</c:v>
                </c:pt>
                <c:pt idx="212" formatCode="_ * #,##0.0_ ;_ * \-#,##0.0_ ;_ * &quot;-&quot;??_ ;_ @_ ">
                  <c:v>29.73998775260257</c:v>
                </c:pt>
                <c:pt idx="213" formatCode="_ * #,##0.0_ ;_ * \-#,##0.0_ ;_ * &quot;-&quot;??_ ;_ @_ ">
                  <c:v>29.901680615091518</c:v>
                </c:pt>
                <c:pt idx="214" formatCode="_ * #,##0.0_ ;_ * \-#,##0.0_ ;_ * &quot;-&quot;??_ ;_ @_ ">
                  <c:v>29.694522691705789</c:v>
                </c:pt>
                <c:pt idx="215" formatCode="_ * #,##0.0_ ;_ * \-#,##0.0_ ;_ * &quot;-&quot;??_ ;_ @_ ">
                  <c:v>29.567857385861064</c:v>
                </c:pt>
                <c:pt idx="216" formatCode="_ * #,##0.0_ ;_ * \-#,##0.0_ ;_ * &quot;-&quot;??_ ;_ @_ ">
                  <c:v>29.778376539429814</c:v>
                </c:pt>
                <c:pt idx="217" formatCode="_ * #,##0.0_ ;_ * \-#,##0.0_ ;_ * &quot;-&quot;??_ ;_ @_ ">
                  <c:v>29.839232496427844</c:v>
                </c:pt>
                <c:pt idx="218" formatCode="_ * #,##0.0_ ;_ * \-#,##0.0_ ;_ * &quot;-&quot;??_ ;_ @_ ">
                  <c:v>29.741933727971695</c:v>
                </c:pt>
                <c:pt idx="219" formatCode="_ * #,##0.0_ ;_ * \-#,##0.0_ ;_ * &quot;-&quot;??_ ;_ @_ ">
                  <c:v>29.665333061168948</c:v>
                </c:pt>
                <c:pt idx="220" formatCode="_ * #,##0.0_ ;_ * \-#,##0.0_ ;_ * &quot;-&quot;??_ ;_ @_ ">
                  <c:v>29.960590596720419</c:v>
                </c:pt>
                <c:pt idx="221" formatCode="_ * #,##0.0_ ;_ * \-#,##0.0_ ;_ * &quot;-&quot;??_ ;_ @_ ">
                  <c:v>30.257617200789273</c:v>
                </c:pt>
                <c:pt idx="222" formatCode="_ * #,##0.0_ ;_ * \-#,##0.0_ ;_ * &quot;-&quot;??_ ;_ @_ ">
                  <c:v>29.964128733755189</c:v>
                </c:pt>
                <c:pt idx="223" formatCode="_ * #,##0.0_ ;_ * \-#,##0.0_ ;_ * &quot;-&quot;??_ ;_ @_ ">
                  <c:v>29.890004762876774</c:v>
                </c:pt>
                <c:pt idx="224" formatCode="_ * #,##0.0_ ;_ * \-#,##0.0_ ;_ * &quot;-&quot;??_ ;_ @_ ">
                  <c:v>30.148111859563176</c:v>
                </c:pt>
                <c:pt idx="225" formatCode="_ * #,##0.0_ ;_ * \-#,##0.0_ ;_ * &quot;-&quot;??_ ;_ @_ ">
                  <c:v>30.149350207525348</c:v>
                </c:pt>
                <c:pt idx="226" formatCode="_ * #,##0.0_ ;_ * \-#,##0.0_ ;_ * &quot;-&quot;??_ ;_ @_ ">
                  <c:v>30.12369871402327</c:v>
                </c:pt>
                <c:pt idx="227" formatCode="_ * #,##0.0_ ;_ * \-#,##0.0_ ;_ * &quot;-&quot;??_ ;_ @_ ">
                  <c:v>30.036306729264474</c:v>
                </c:pt>
                <c:pt idx="228" formatCode="_ * #,##0.0_ ;_ * \-#,##0.0_ ;_ * &quot;-&quot;??_ ;_ @_ ">
                  <c:v>29.805620194597537</c:v>
                </c:pt>
                <c:pt idx="229" formatCode="_ * #,##0.0_ ;_ * \-#,##0.0_ ;_ * &quot;-&quot;??_ ;_ @_ ">
                  <c:v>29.896373409539361</c:v>
                </c:pt>
                <c:pt idx="230" formatCode="_ * #,##0.0_ ;_ * \-#,##0.0_ ;_ * &quot;-&quot;??_ ;_ @_ ">
                  <c:v>30.014724093352388</c:v>
                </c:pt>
                <c:pt idx="231" formatCode="_ * #,##0.0_ ;_ * \-#,##0.0_ ;_ * &quot;-&quot;??_ ;_ @_ ">
                  <c:v>30.317234809825134</c:v>
                </c:pt>
                <c:pt idx="232" formatCode="_ * #,##0.0_ ;_ * \-#,##0.0_ ;_ * &quot;-&quot;??_ ;_ @_ ">
                  <c:v>30.374729536640132</c:v>
                </c:pt>
                <c:pt idx="233" formatCode="_ * #,##0.0_ ;_ * \-#,##0.0_ ;_ * &quot;-&quot;??_ ;_ @_ ">
                  <c:v>30.151119276042728</c:v>
                </c:pt>
                <c:pt idx="234" formatCode="_ * #,##0.0_ ;_ * \-#,##0.0_ ;_ * &quot;-&quot;??_ ;_ @_ ">
                  <c:v>30.286983738177859</c:v>
                </c:pt>
                <c:pt idx="235" formatCode="_ * #,##0.0_ ;_ * \-#,##0.0_ ;_ * &quot;-&quot;??_ ;_ @_ ">
                  <c:v>30.248241137647135</c:v>
                </c:pt>
                <c:pt idx="236" formatCode="_ * #,##0.0_ ;_ * \-#,##0.0_ ;_ * &quot;-&quot;??_ ;_ @_ ">
                  <c:v>29.955283391168265</c:v>
                </c:pt>
                <c:pt idx="237" formatCode="_ * #,##0.0_ ;_ * \-#,##0.0_ ;_ * &quot;-&quot;??_ ;_ @_ ">
                  <c:v>30.22895829080765</c:v>
                </c:pt>
                <c:pt idx="238" formatCode="_ * #,##0.0_ ;_ * \-#,##0.0_ ;_ * &quot;-&quot;??_ ;_ @_ ">
                  <c:v>30.334748588147242</c:v>
                </c:pt>
                <c:pt idx="239" formatCode="_ * #,##0.0_ ;_ * \-#,##0.0_ ;_ * &quot;-&quot;??_ ;_ @_ ">
                  <c:v>30.189508062869976</c:v>
                </c:pt>
                <c:pt idx="240" formatCode="_ * #,##0.0_ ;_ * \-#,##0.0_ ;_ * &quot;-&quot;??_ ;_ @_ ">
                  <c:v>30.11909913587807</c:v>
                </c:pt>
                <c:pt idx="241" formatCode="_ * #,##0.0_ ;_ * \-#,##0.0_ ;_ * &quot;-&quot;??_ ;_ @_ ">
                  <c:v>30.040552493706198</c:v>
                </c:pt>
                <c:pt idx="242" formatCode="_ * #,##0.0_ ;_ * \-#,##0.0_ ;_ * &quot;-&quot;??_ ;_ @_ ">
                  <c:v>29.953868136354359</c:v>
                </c:pt>
                <c:pt idx="243" formatCode="_ * #,##0.0_ ;_ * \-#,##0.0_ ;_ * &quot;-&quot;??_ ;_ @_ ">
                  <c:v>30.026399945567121</c:v>
                </c:pt>
                <c:pt idx="244" formatCode="_ * #,##0.0_ ;_ * \-#,##0.0_ ;_ * &quot;-&quot;??_ ;_ @_ ">
                  <c:v>30.143689188269718</c:v>
                </c:pt>
                <c:pt idx="245" formatCode="_ * #,##0.0_ ;_ * \-#,##0.0_ ;_ * &quot;-&quot;??_ ;_ @_ ">
                  <c:v>29.927862829148808</c:v>
                </c:pt>
                <c:pt idx="246" formatCode="_ * #,##0.0_ ;_ * \-#,##0.0_ ;_ * &quot;-&quot;??_ ;_ @_ ">
                  <c:v>30.161202966591823</c:v>
                </c:pt>
                <c:pt idx="247" formatCode="_ * #,##0.0_ ;_ * \-#,##0.0_ ;_ * &quot;-&quot;??_ ;_ @_ ">
                  <c:v>30.539429815608628</c:v>
                </c:pt>
                <c:pt idx="248" formatCode="_ * #,##0.0_ ;_ * \-#,##0.0_ ;_ * &quot;-&quot;??_ ;_ @_ ">
                  <c:v>30.289991154657415</c:v>
                </c:pt>
                <c:pt idx="249" formatCode="_ * #,##0.0_ ;_ * \-#,##0.0_ ;_ * &quot;-&quot;??_ ;_ @_ ">
                  <c:v>30.565788936517656</c:v>
                </c:pt>
                <c:pt idx="250" formatCode="_ * #,##0.0_ ;_ * \-#,##0.0_ ;_ * &quot;-&quot;??_ ;_ @_ ">
                  <c:v>30.450091855480711</c:v>
                </c:pt>
                <c:pt idx="251" formatCode="_ * #,##0.0_ ;_ * \-#,##0.0_ ;_ * &quot;-&quot;??_ ;_ @_ ">
                  <c:v>30.144043001973191</c:v>
                </c:pt>
                <c:pt idx="252" formatCode="_ * #,##0.0_ ;_ * \-#,##0.0_ ;_ * &quot;-&quot;??_ ;_ @_ ">
                  <c:v>30.418248622167791</c:v>
                </c:pt>
                <c:pt idx="253" formatCode="_ * #,##0.0_ ;_ * \-#,##0.0_ ;_ * &quot;-&quot;??_ ;_ @_ ">
                  <c:v>30.563135333741581</c:v>
                </c:pt>
                <c:pt idx="254" formatCode="_ * #,##0.0_ ;_ * \-#,##0.0_ ;_ * &quot;-&quot;??_ ;_ @_ ">
                  <c:v>31.183547662788328</c:v>
                </c:pt>
                <c:pt idx="255" formatCode="_ * #,##0.0_ ;_ * \-#,##0.0_ ;_ * &quot;-&quot;??_ ;_ @_ ">
                  <c:v>30.595509287609719</c:v>
                </c:pt>
                <c:pt idx="256" formatCode="_ * #,##0.0_ ;_ * \-#,##0.0_ ;_ * &quot;-&quot;??_ ;_ @_ ">
                  <c:v>30.702891746614956</c:v>
                </c:pt>
                <c:pt idx="257" formatCode="_ * #,##0.0_ ;_ * \-#,##0.0_ ;_ * &quot;-&quot;??_ ;_ @_ ">
                  <c:v>30.637613118323468</c:v>
                </c:pt>
                <c:pt idx="258" formatCode="_ * #,##0.0_ ;_ * \-#,##0.0_ ;_ * &quot;-&quot;??_ ;_ @_ ">
                  <c:v>30.713859971422739</c:v>
                </c:pt>
                <c:pt idx="259" formatCode="_ * #,##0.0_ ;_ * \-#,##0.0_ ;_ * &quot;-&quot;??_ ;_ @_ ">
                  <c:v>31.287038171055315</c:v>
                </c:pt>
                <c:pt idx="260" formatCode="_ * #,##0.0_ ;_ * \-#,##0.0_ ;_ * &quot;-&quot;??_ ;_ @_ ">
                  <c:v>31.459168537796828</c:v>
                </c:pt>
                <c:pt idx="261" formatCode="_ * #,##0.0_ ;_ * \-#,##0.0_ ;_ * &quot;-&quot;??_ ;_ @_ ">
                  <c:v>31.669510784513847</c:v>
                </c:pt>
                <c:pt idx="262" formatCode="_ * #,##0.0_ ;_ * \-#,##0.0_ ;_ * &quot;-&quot;??_ ;_ @_ ">
                  <c:v>31.708076478192826</c:v>
                </c:pt>
                <c:pt idx="263" formatCode="_ * #,##0.0_ ;_ * \-#,##0.0_ ;_ * &quot;-&quot;??_ ;_ @_ ">
                  <c:v>31.54443764033476</c:v>
                </c:pt>
                <c:pt idx="264" formatCode="_ * #,##0.0_ ;_ * \-#,##0.0_ ;_ * &quot;-&quot;??_ ;_ @_ ">
                  <c:v>31.604409063074097</c:v>
                </c:pt>
                <c:pt idx="265" formatCode="_ * #,##0.0_ ;_ * \-#,##0.0_ ;_ * &quot;-&quot;??_ ;_ @_ ">
                  <c:v>31.423787167449138</c:v>
                </c:pt>
                <c:pt idx="266" formatCode="_ * #,##0.0_ ;_ * \-#,##0.0_ ;_ * &quot;-&quot;??_ ;_ @_ ">
                  <c:v>31.489773423147582</c:v>
                </c:pt>
                <c:pt idx="267" formatCode="_ * #,##0.0_ ;_ * \-#,##0.0_ ;_ * &quot;-&quot;??_ ;_ @_ ">
                  <c:v>31.508348642580117</c:v>
                </c:pt>
                <c:pt idx="268" formatCode="_ * #,##0.0_ ;_ * \-#,##0.0_ ;_ * &quot;-&quot;??_ ;_ @_ ">
                  <c:v>31.306144111043071</c:v>
                </c:pt>
                <c:pt idx="269" formatCode="_ * #,##0.0_ ;_ * \-#,##0.0_ ;_ * &quot;-&quot;??_ ;_ @_ ">
                  <c:v>31.370538205075867</c:v>
                </c:pt>
                <c:pt idx="270" formatCode="_ * #,##0.0_ ;_ * \-#,##0.0_ ;_ * &quot;-&quot;??_ ;_ @_ ">
                  <c:v>31.160726678914063</c:v>
                </c:pt>
                <c:pt idx="271" formatCode="_ * #,##0.0_ ;_ * \-#,##0.0_ ;_ * &quot;-&quot;??_ ;_ @_ ">
                  <c:v>30.931278492209294</c:v>
                </c:pt>
                <c:pt idx="272" formatCode="_ * #,##0.0_ ;_ * \-#,##0.0_ ;_ * &quot;-&quot;??_ ;_ @_ ">
                  <c:v>31.408396271347897</c:v>
                </c:pt>
                <c:pt idx="273" formatCode="_ * #,##0.0_ ;_ * \-#,##0.0_ ;_ * &quot;-&quot;??_ ;_ @_ ">
                  <c:v>31.67587943117643</c:v>
                </c:pt>
                <c:pt idx="274" formatCode="_ * #,##0.0_ ;_ * \-#,##0.0_ ;_ * &quot;-&quot;??_ ;_ @_ ">
                  <c:v>31.38929033136014</c:v>
                </c:pt>
                <c:pt idx="275" formatCode="_ * #,##0.0_ ;_ * \-#,##0.0_ ;_ * &quot;-&quot;??_ ;_ @_ ">
                  <c:v>31.395482071170989</c:v>
                </c:pt>
                <c:pt idx="276" formatCode="_ * #,##0.0_ ;_ * \-#,##0.0_ ;_ * &quot;-&quot;??_ ;_ @_ ">
                  <c:v>31.348247941756821</c:v>
                </c:pt>
                <c:pt idx="277" formatCode="_ * #,##0.0_ ;_ * \-#,##0.0_ ;_ * &quot;-&quot;??_ ;_ @_ ">
                  <c:v>31.321711913996051</c:v>
                </c:pt>
                <c:pt idx="278" formatCode="_ * #,##0.0_ ;_ * \-#,##0.0_ ;_ * &quot;-&quot;??_ ;_ @_ ">
                  <c:v>31.412818942641358</c:v>
                </c:pt>
                <c:pt idx="279" formatCode="_ * #,##0.0_ ;_ * \-#,##0.0_ ;_ * &quot;-&quot;??_ ;_ @_ ">
                  <c:v>31.248826291079812</c:v>
                </c:pt>
                <c:pt idx="280" formatCode="_ * #,##0.0_ ;_ * \-#,##0.0_ ;_ * &quot;-&quot;??_ ;_ @_ ">
                  <c:v>31.018139756412872</c:v>
                </c:pt>
                <c:pt idx="281" formatCode="_ * #,##0.0_ ;_ * \-#,##0.0_ ;_ * &quot;-&quot;??_ ;_ @_ ">
                  <c:v>31.172048717425323</c:v>
                </c:pt>
                <c:pt idx="282" formatCode="_ * #,##0.0_ ;_ * \-#,##0.0_ ;_ * &quot;-&quot;??_ ;_ @_ ">
                  <c:v>30.854147104851329</c:v>
                </c:pt>
                <c:pt idx="283" formatCode="_ * #,##0.0_ ;_ * \-#,##0.0_ ;_ * &quot;-&quot;??_ ;_ @_ ">
                  <c:v>30.62469891814656</c:v>
                </c:pt>
                <c:pt idx="284" formatCode="_ * #,##0.0_ ;_ * \-#,##0.0_ ;_ * &quot;-&quot;??_ ;_ @_ ">
                  <c:v>30.814873783765393</c:v>
                </c:pt>
                <c:pt idx="285" formatCode="_ * #,##0.0_ ;_ * \-#,##0.0_ ;_ * &quot;-&quot;??_ ;_ @_ ">
                  <c:v>30.689623732734571</c:v>
                </c:pt>
                <c:pt idx="286" formatCode="_ * #,##0.0_ ;_ * \-#,##0.0_ ;_ * &quot;-&quot;??_ ;_ @_ ">
                  <c:v>30.554820711709873</c:v>
                </c:pt>
                <c:pt idx="287" formatCode="_ * #,##0.0_ ;_ * \-#,##0.0_ ;_ * &quot;-&quot;??_ ;_ @_ ">
                  <c:v>30.539606722460366</c:v>
                </c:pt>
                <c:pt idx="288" formatCode="_ * #,##0.0_ ;_ * \-#,##0.0_ ;_ * &quot;-&quot;??_ ;_ @_ ">
                  <c:v>30.360576988501055</c:v>
                </c:pt>
                <c:pt idx="289" formatCode="_ * #,##0.0_ ;_ * \-#,##0.0_ ;_ * &quot;-&quot;??_ ;_ @_ ">
                  <c:v>29.803497312376678</c:v>
                </c:pt>
                <c:pt idx="290" formatCode="_ * #,##0.0_ ;_ * \-#,##0.0_ ;_ * &quot;-&quot;??_ ;_ @_ ">
                  <c:v>30.348547322582842</c:v>
                </c:pt>
                <c:pt idx="291" formatCode="_ * #,##0.0_ ;_ * \-#,##0.0_ ;_ * &quot;-&quot;??_ ;_ @_ ">
                  <c:v>30.625052731850037</c:v>
                </c:pt>
                <c:pt idx="292" formatCode="_ * #,##0.0_ ;_ * \-#,##0.0_ ;_ * &quot;-&quot;??_ ;_ @_ ">
                  <c:v>30.655303803497311</c:v>
                </c:pt>
                <c:pt idx="293" formatCode="_ * #,##0.0_ ;_ * \-#,##0.0_ ;_ * &quot;-&quot;??_ ;_ @_ ">
                  <c:v>30.639382186840855</c:v>
                </c:pt>
                <c:pt idx="294" formatCode="_ * #,##0.0_ ;_ * \-#,##0.0_ ;_ * &quot;-&quot;??_ ;_ @_ ">
                  <c:v>30.490780431380553</c:v>
                </c:pt>
                <c:pt idx="295" formatCode="_ * #,##0.0_ ;_ * \-#,##0.0_ ;_ * &quot;-&quot;??_ ;_ @_ ">
                  <c:v>30.562073892631147</c:v>
                </c:pt>
                <c:pt idx="296" formatCode="_ * #,##0.0_ ;_ * \-#,##0.0_ ;_ * &quot;-&quot;??_ ;_ @_ ">
                  <c:v>30.803374838402394</c:v>
                </c:pt>
                <c:pt idx="297" formatCode="_ * #,##0.0_ ;_ * \-#,##0.0_ ;_ * &quot;-&quot;??_ ;_ @_ ">
                  <c:v>30.683078179220249</c:v>
                </c:pt>
                <c:pt idx="298" formatCode="_ * #,##0.0_ ;_ * \-#,##0.0_ ;_ * &quot;-&quot;??_ ;_ @_ ">
                  <c:v>30.575518813363267</c:v>
                </c:pt>
                <c:pt idx="299" formatCode="_ * #,##0.0_ ;_ * \-#,##0.0_ ;_ * &quot;-&quot;??_ ;_ @_ ">
                  <c:v>30.647342995169083</c:v>
                </c:pt>
                <c:pt idx="300" formatCode="_ * #,##0.0_ ;_ * \-#,##0.0_ ;_ * &quot;-&quot;??_ ;_ @_ ">
                  <c:v>30.389058991630943</c:v>
                </c:pt>
                <c:pt idx="301" formatCode="_ * #,##0.0_ ;_ * \-#,##0.0_ ;_ * &quot;-&quot;??_ ;_ @_ ">
                  <c:v>30.414002857726068</c:v>
                </c:pt>
                <c:pt idx="302" formatCode="_ * #,##0.0_ ;_ * \-#,##0.0_ ;_ * &quot;-&quot;??_ ;_ @_ ">
                  <c:v>30.203129890453834</c:v>
                </c:pt>
                <c:pt idx="303" formatCode="_ * #,##0.0_ ;_ * \-#,##0.0_ ;_ * &quot;-&quot;??_ ;_ @_ ">
                  <c:v>30.181547254541741</c:v>
                </c:pt>
                <c:pt idx="304" formatCode="_ * #,##0.0_ ;_ * \-#,##0.0_ ;_ * &quot;-&quot;??_ ;_ @_ ">
                  <c:v>30.215690276927266</c:v>
                </c:pt>
                <c:pt idx="305" formatCode="_ * #,##0.0_ ;_ * \-#,##0.0_ ;_ * &quot;-&quot;??_ ;_ @_ ">
                  <c:v>30.230373545621553</c:v>
                </c:pt>
                <c:pt idx="306" formatCode="_ * #,##0.0_ ;_ * \-#,##0.0_ ;_ * &quot;-&quot;??_ ;_ @_ ">
                  <c:v>30.221528203034634</c:v>
                </c:pt>
                <c:pt idx="307" formatCode="_ * #,##0.0_ ;_ * \-#,##0.0_ ;_ * &quot;-&quot;??_ ;_ @_ ">
                  <c:v>30.148996393821868</c:v>
                </c:pt>
                <c:pt idx="308" formatCode="_ * #,##0.0_ ;_ * \-#,##0.0_ ;_ * &quot;-&quot;??_ ;_ @_ ">
                  <c:v>30.107246376811595</c:v>
                </c:pt>
                <c:pt idx="309" formatCode="_ * #,##0.0_ ;_ * \-#,##0.0_ ;_ * &quot;-&quot;??_ ;_ @_ ">
                  <c:v>30.055058855548754</c:v>
                </c:pt>
                <c:pt idx="310" formatCode="_ * #,##0.0_ ;_ * \-#,##0.0_ ;_ * &quot;-&quot;??_ ;_ @_ ">
                  <c:v>29.811988841260124</c:v>
                </c:pt>
                <c:pt idx="311" formatCode="_ * #,##0.0_ ;_ * \-#,##0.0_ ;_ * &quot;-&quot;??_ ;_ @_ ">
                  <c:v>29.84170919235218</c:v>
                </c:pt>
                <c:pt idx="312" formatCode="_ * #,##0.0_ ;_ * \-#,##0.0_ ;_ * &quot;-&quot;??_ ;_ @_ ">
                  <c:v>29.761039667959444</c:v>
                </c:pt>
                <c:pt idx="313" formatCode="_ * #,##0.0_ ;_ * \-#,##0.0_ ;_ * &quot;-&quot;??_ ;_ @_ ">
                  <c:v>29.564496155678029</c:v>
                </c:pt>
                <c:pt idx="314" formatCode="_ * #,##0.0_ ;_ * \-#,##0.0_ ;_ * &quot;-&quot;??_ ;_ @_ ">
                  <c:v>29.473389127032728</c:v>
                </c:pt>
                <c:pt idx="315" formatCode="_ * #,##0.0_ ;_ * \-#,##0.0_ ;_ * &quot;-&quot;??_ ;_ @_ ">
                  <c:v>29.396434646526501</c:v>
                </c:pt>
                <c:pt idx="316" formatCode="_ * #,##0.0_ ;_ * \-#,##0.0_ ;_ * &quot;-&quot;??_ ;_ @_ ">
                  <c:v>29.545920936245494</c:v>
                </c:pt>
                <c:pt idx="317" formatCode="_ * #,##0.0_ ;_ * \-#,##0.0_ ;_ * &quot;-&quot;??_ ;_ @_ ">
                  <c:v>29.545744029393756</c:v>
                </c:pt>
                <c:pt idx="318" formatCode="_ * #,##0.0_ ;_ * \-#,##0.0_ ;_ * &quot;-&quot;??_ ;_ @_ ">
                  <c:v>29.277907055861743</c:v>
                </c:pt>
                <c:pt idx="319" formatCode="_ * #,##0.0_ ;_ * \-#,##0.0_ ;_ * &quot;-&quot;??_ ;_ @_ ">
                  <c:v>29.394311764305638</c:v>
                </c:pt>
                <c:pt idx="320" formatCode="_ * #,##0.0_ ;_ * \-#,##0.0_ ;_ * &quot;-&quot;??_ ;_ @_ ">
                  <c:v>29.362999251547937</c:v>
                </c:pt>
                <c:pt idx="321" formatCode="_ * #,##0.0_ ;_ * \-#,##0.0_ ;_ * &quot;-&quot;??_ ;_ @_ ">
                  <c:v>29.481173028509218</c:v>
                </c:pt>
                <c:pt idx="322" formatCode="_ * #,##0.0_ ;_ * \-#,##0.0_ ;_ * &quot;-&quot;??_ ;_ @_ ">
                  <c:v>29.33150983193849</c:v>
                </c:pt>
                <c:pt idx="323" formatCode="_ * #,##0.0_ ;_ * \-#,##0.0_ ;_ * &quot;-&quot;??_ ;_ @_ ">
                  <c:v>29.033952507314421</c:v>
                </c:pt>
                <c:pt idx="324" formatCode="_ * #,##0.0_ ;_ * \-#,##0.0_ ;_ * &quot;-&quot;??_ ;_ @_ ">
                  <c:v>29.490549091651356</c:v>
                </c:pt>
                <c:pt idx="325" formatCode="_ * #,##0.0_ ;_ * \-#,##0.0_ ;_ * &quot;-&quot;??_ ;_ @_ ">
                  <c:v>29.604300197319183</c:v>
                </c:pt>
                <c:pt idx="326" formatCode="_ * #,##0.0_ ;_ * \-#,##0.0_ ;_ * &quot;-&quot;??_ ;_ @_ ">
                  <c:v>29.482411376471386</c:v>
                </c:pt>
                <c:pt idx="327" formatCode="_ * #,##0.0_ ;_ * \-#,##0.0_ ;_ * &quot;-&quot;??_ ;_ @_ ">
                  <c:v>29.52840715792339</c:v>
                </c:pt>
                <c:pt idx="328" formatCode="_ * #,##0.0_ ;_ * \-#,##0.0_ ;_ * &quot;-&quot;??_ ;_ @_ ">
                  <c:v>29.168932435190854</c:v>
                </c:pt>
                <c:pt idx="329" formatCode="_ * #,##0.0_ ;_ * \-#,##0.0_ ;_ * &quot;-&quot;??_ ;_ @_ ">
                  <c:v>29.035013948424847</c:v>
                </c:pt>
                <c:pt idx="330" formatCode="_ * #,##0.0_ ;_ * \-#,##0.0_ ;_ * &quot;-&quot;??_ ;_ @_ ">
                  <c:v>28.921262842757024</c:v>
                </c:pt>
                <c:pt idx="331" formatCode="_ * #,##0.0_ ;_ * \-#,##0.0_ ;_ * &quot;-&quot;??_ ;_ @_ ">
                  <c:v>29.07039531877254</c:v>
                </c:pt>
                <c:pt idx="332" formatCode="_ * #,##0.0_ ;_ * \-#,##0.0_ ;_ * &quot;-&quot;??_ ;_ @_ ">
                  <c:v>29.227665509968023</c:v>
                </c:pt>
                <c:pt idx="333" formatCode="_ * #,##0.0_ ;_ * \-#,##0.0_ ;_ * &quot;-&quot;??_ ;_ @_ ">
                  <c:v>29.102061645233722</c:v>
                </c:pt>
                <c:pt idx="334" formatCode="_ * #,##0.0_ ;_ * \-#,##0.0_ ;_ * &quot;-&quot;??_ ;_ @_ ">
                  <c:v>29.217581819418928</c:v>
                </c:pt>
                <c:pt idx="335" formatCode="_ * #,##0.0_ ;_ * \-#,##0.0_ ;_ * &quot;-&quot;??_ ;_ @_ ">
                  <c:v>29.204844526093762</c:v>
                </c:pt>
                <c:pt idx="336" formatCode="_ * #,##0.0_ ;_ * \-#,##0.0_ ;_ * &quot;-&quot;??_ ;_ @_ ">
                  <c:v>29.19016125739947</c:v>
                </c:pt>
                <c:pt idx="337" formatCode="_ * #,##0.0_ ;_ * \-#,##0.0_ ;_ * &quot;-&quot;??_ ;_ @_ ">
                  <c:v>29.170524596856502</c:v>
                </c:pt>
                <c:pt idx="338" formatCode="_ * #,##0.0_ ;_ * \-#,##0.0_ ;_ * &quot;-&quot;??_ ;_ @_ ">
                  <c:v>29.275961080492621</c:v>
                </c:pt>
                <c:pt idx="339" formatCode="_ * #,##0.0_ ;_ * \-#,##0.0_ ;_ * &quot;-&quot;??_ ;_ @_ ">
                  <c:v>29.169993876301287</c:v>
                </c:pt>
                <c:pt idx="340" formatCode="_ * #,##0.0_ ;_ * \-#,##0.0_ ;_ * &quot;-&quot;??_ ;_ @_ ">
                  <c:v>29.261985439205279</c:v>
                </c:pt>
                <c:pt idx="341" formatCode="_ * #,##0.0_ ;_ * \-#,##0.0_ ;_ * &quot;-&quot;??_ ;_ @_ ">
                  <c:v>29.311342450840307</c:v>
                </c:pt>
                <c:pt idx="342" formatCode="_ * #,##0.0_ ;_ * \-#,##0.0_ ;_ * &quot;-&quot;??_ ;_ @_ ">
                  <c:v>29.146642171871807</c:v>
                </c:pt>
                <c:pt idx="343" formatCode="_ * #,##0.0_ ;_ * \-#,##0.0_ ;_ * &quot;-&quot;??_ ;_ @_ ">
                  <c:v>29.050935565081311</c:v>
                </c:pt>
                <c:pt idx="344" formatCode="_ * #,##0.0_ ;_ * \-#,##0.0_ ;_ * &quot;-&quot;??_ ;_ @_ ">
                  <c:v>29.270123154385246</c:v>
                </c:pt>
                <c:pt idx="345" formatCode="_ * #,##0.0_ ;_ * \-#,##0.0_ ;_ * &quot;-&quot;??_ ;_ @_ ">
                  <c:v>29.204490712390282</c:v>
                </c:pt>
                <c:pt idx="346" formatCode="_ * #,##0.0_ ;_ * \-#,##0.0_ ;_ * &quot;-&quot;??_ ;_ @_ ">
                  <c:v>29.621990882493026</c:v>
                </c:pt>
                <c:pt idx="347" formatCode="_ * #,##0.0_ ;_ * \-#,##0.0_ ;_ * &quot;-&quot;??_ ;_ @_ ">
                  <c:v>29.802966591821459</c:v>
                </c:pt>
                <c:pt idx="348" formatCode="_ * #,##0.0_ ;_ * \-#,##0.0_ ;_ * &quot;-&quot;??_ ;_ @_ ">
                  <c:v>29.892658365652853</c:v>
                </c:pt>
                <c:pt idx="349" formatCode="_ * #,##0.0_ ;_ * \-#,##0.0_ ;_ * &quot;-&quot;??_ ;_ @_ ">
                  <c:v>29.908403075457578</c:v>
                </c:pt>
                <c:pt idx="350" formatCode="_ * #,##0.0_ ;_ * \-#,##0.0_ ;_ * &quot;-&quot;??_ ;_ @_ ">
                  <c:v>30.353146900728042</c:v>
                </c:pt>
                <c:pt idx="351" formatCode="_ * #,##0.0_ ;_ * \-#,##0.0_ ;_ * &quot;-&quot;??_ ;_ @_ ">
                  <c:v>30.26964686670749</c:v>
                </c:pt>
                <c:pt idx="352" formatCode="_ * #,##0.0_ ;_ * \-#,##0.0_ ;_ * &quot;-&quot;??_ ;_ @_ ">
                  <c:v>30.449561134925496</c:v>
                </c:pt>
                <c:pt idx="353" formatCode="_ * #,##0.0_ ;_ * \-#,##0.0_ ;_ * &quot;-&quot;??_ ;_ @_ ">
                  <c:v>30.417187181057361</c:v>
                </c:pt>
                <c:pt idx="354" formatCode="_ * #,##0.0_ ;_ * \-#,##0.0_ ;_ * &quot;-&quot;??_ ;_ @_ ">
                  <c:v>30.063373477580463</c:v>
                </c:pt>
                <c:pt idx="355" formatCode="_ * #,##0.0_ ;_ * \-#,##0.0_ ;_ * &quot;-&quot;??_ ;_ @_ ">
                  <c:v>30.392066408110498</c:v>
                </c:pt>
                <c:pt idx="356" formatCode="_ * #,##0.0_ ;_ * \-#,##0.0_ ;_ * &quot;-&quot;??_ ;_ @_ ">
                  <c:v>30.015077907055865</c:v>
                </c:pt>
                <c:pt idx="357" formatCode="_ * #,##0.0_ ;_ * \-#,##0.0_ ;_ * &quot;-&quot;??_ ;_ @_ ">
                  <c:v>29.89548887528067</c:v>
                </c:pt>
                <c:pt idx="358" formatCode="_ * #,##0.0_ ;_ * \-#,##0.0_ ;_ * &quot;-&quot;??_ ;_ @_ ">
                  <c:v>29.73680342927128</c:v>
                </c:pt>
                <c:pt idx="359" formatCode="_ * #,##0.0_ ;_ * \-#,##0.0_ ;_ * &quot;-&quot;??_ ;_ @_ ">
                  <c:v>29.665863781724166</c:v>
                </c:pt>
                <c:pt idx="360" formatCode="_ * #,##0.0_ ;_ * \-#,##0.0_ ;_ * &quot;-&quot;??_ ;_ @_ ">
                  <c:v>29.401211131523443</c:v>
                </c:pt>
                <c:pt idx="361" formatCode="_ * #,##0.0_ ;_ * \-#,##0.0_ ;_ * &quot;-&quot;??_ ;_ @_ ">
                  <c:v>29.335932503231952</c:v>
                </c:pt>
                <c:pt idx="362" formatCode="_ * #,##0.0_ ;_ * \-#,##0.0_ ;_ * &quot;-&quot;??_ ;_ @_ ">
                  <c:v>29.311342450840307</c:v>
                </c:pt>
                <c:pt idx="363" formatCode="_ * #,##0.0_ ;_ * \-#,##0.0_ ;_ * &quot;-&quot;??_ ;_ @_ ">
                  <c:v>29.335224875824998</c:v>
                </c:pt>
                <c:pt idx="364" formatCode="_ * #,##0.0_ ;_ * \-#,##0.0_ ;_ * &quot;-&quot;??_ ;_ @_ ">
                  <c:v>29.372198407838329</c:v>
                </c:pt>
                <c:pt idx="365" formatCode="_ * #,##0.0_ ;_ * \-#,##0.0_ ;_ * &quot;-&quot;??_ ;_ @_ ">
                  <c:v>29.296305368442539</c:v>
                </c:pt>
                <c:pt idx="366" formatCode="_ * #,##0.0_ ;_ * \-#,##0.0_ ;_ * &quot;-&quot;??_ ;_ @_ ">
                  <c:v>29.21988160849153</c:v>
                </c:pt>
                <c:pt idx="367" formatCode="_ * #,##0.0_ ;_ * \-#,##0.0_ ;_ * &quot;-&quot;??_ ;_ @_ ">
                  <c:v>29.093923930053752</c:v>
                </c:pt>
                <c:pt idx="368" formatCode="_ * #,##0.0_ ;_ * \-#,##0.0_ ;_ * &quot;-&quot;??_ ;_ @_ ">
                  <c:v>29.23084983329931</c:v>
                </c:pt>
                <c:pt idx="369" formatCode="_ * #,##0.0_ ;_ * \-#,##0.0_ ;_ * &quot;-&quot;??_ ;_ @_ ">
                  <c:v>29.228373137374977</c:v>
                </c:pt>
                <c:pt idx="370" formatCode="_ * #,##0.0_ ;_ * \-#,##0.0_ ;_ * &quot;-&quot;??_ ;_ @_ ">
                  <c:v>29.369544805062262</c:v>
                </c:pt>
                <c:pt idx="371" formatCode="_ * #,##0.0_ ;_ * \-#,##0.0_ ;_ * &quot;-&quot;??_ ;_ @_ ">
                  <c:v>29.344600938967137</c:v>
                </c:pt>
                <c:pt idx="372" formatCode="_ * #,##0.0_ ;_ * \-#,##0.0_ ;_ * &quot;-&quot;??_ ;_ @_ ">
                  <c:v>29.361583996734026</c:v>
                </c:pt>
                <c:pt idx="373" formatCode="_ * #,##0.0_ ;_ * \-#,##0.0_ ;_ * &quot;-&quot;??_ ;_ @_ ">
                  <c:v>29.307981220657279</c:v>
                </c:pt>
                <c:pt idx="374" formatCode="_ * #,##0.0_ ;_ * \-#,##0.0_ ;_ * &quot;-&quot;??_ ;_ @_ ">
                  <c:v>29.059427093964757</c:v>
                </c:pt>
                <c:pt idx="375" formatCode="_ * #,##0.0_ ;_ * \-#,##0.0_ ;_ * &quot;-&quot;??_ ;_ @_ ">
                  <c:v>29.067387902292985</c:v>
                </c:pt>
                <c:pt idx="376" formatCode="_ * #,##0.0_ ;_ * \-#,##0.0_ ;_ * &quot;-&quot;??_ ;_ @_ ">
                  <c:v>29.150357215758316</c:v>
                </c:pt>
                <c:pt idx="377" formatCode="_ * #,##0.0_ ;_ * \-#,##0.0_ ;_ * &quot;-&quot;??_ ;_ @_ ">
                  <c:v>29.113914404300196</c:v>
                </c:pt>
                <c:pt idx="378" formatCode="_ * #,##0.0_ ;_ * \-#,##0.0_ ;_ * &quot;-&quot;??_ ;_ @_ ">
                  <c:v>29.086670749132477</c:v>
                </c:pt>
                <c:pt idx="379" formatCode="_ * #,##0.0_ ;_ * \-#,##0.0_ ;_ * &quot;-&quot;??_ ;_ @_ ">
                  <c:v>29.205198339797239</c:v>
                </c:pt>
                <c:pt idx="380" formatCode="_ * #,##0.0_ ;_ * \-#,##0.0_ ;_ * &quot;-&quot;??_ ;_ @_ ">
                  <c:v>29.22978839218888</c:v>
                </c:pt>
                <c:pt idx="381" formatCode="_ * #,##0.0_ ;_ * \-#,##0.0_ ;_ * &quot;-&quot;??_ ;_ @_ ">
                  <c:v>29.10542287541675</c:v>
                </c:pt>
                <c:pt idx="382" formatCode="_ * #,##0.0_ ;_ * \-#,##0.0_ ;_ * &quot;-&quot;??_ ;_ @_ ">
                  <c:v>29.376267265428318</c:v>
                </c:pt>
                <c:pt idx="383" formatCode="_ * #,##0.0_ ;_ * \-#,##0.0_ ;_ * &quot;-&quot;??_ ;_ @_ ">
                  <c:v>29.200244947948562</c:v>
                </c:pt>
                <c:pt idx="384" formatCode="_ * #,##0.0_ ;_ * \-#,##0.0_ ;_ * &quot;-&quot;??_ ;_ @_ ">
                  <c:v>28.9722120160577</c:v>
                </c:pt>
                <c:pt idx="385" formatCode="_ * #,##0.0_ ;_ * \-#,##0.0_ ;_ * &quot;-&quot;??_ ;_ @_ ">
                  <c:v>28.773014901000206</c:v>
                </c:pt>
                <c:pt idx="386" formatCode="_ * #,##0.0_ ;_ * \-#,##0.0_ ;_ * &quot;-&quot;??_ ;_ @_ ">
                  <c:v>28.830686534666938</c:v>
                </c:pt>
                <c:pt idx="387" formatCode="_ * #,##0.0_ ;_ * \-#,##0.0_ ;_ * &quot;-&quot;??_ ;_ @_ ">
                  <c:v>28.640157855344629</c:v>
                </c:pt>
                <c:pt idx="388" formatCode="_ * #,##0.0_ ;_ * \-#,##0.0_ ;_ * &quot;-&quot;??_ ;_ @_ ">
                  <c:v>28.716050894740423</c:v>
                </c:pt>
                <c:pt idx="389" formatCode="_ * #,##0.0_ ;_ * \-#,##0.0_ ;_ * &quot;-&quot;??_ ;_ @_ ">
                  <c:v>28.871021296863308</c:v>
                </c:pt>
                <c:pt idx="390" formatCode="_ * #,##0.0_ ;_ * \-#,##0.0_ ;_ * &quot;-&quot;??_ ;_ @_ ">
                  <c:v>28.892957746478874</c:v>
                </c:pt>
                <c:pt idx="391" formatCode="_ * #,##0.0_ ;_ * \-#,##0.0_ ;_ * &quot;-&quot;??_ ;_ @_ ">
                  <c:v>28.789644145063622</c:v>
                </c:pt>
                <c:pt idx="392" formatCode="_ * #,##0.0_ ;_ * \-#,##0.0_ ;_ * &quot;-&quot;??_ ;_ @_ ">
                  <c:v>28.624413145539904</c:v>
                </c:pt>
                <c:pt idx="393" formatCode="_ * #,##0.0_ ;_ * \-#,##0.0_ ;_ * &quot;-&quot;??_ ;_ @_ ">
                  <c:v>28.561788120024495</c:v>
                </c:pt>
                <c:pt idx="394" formatCode="_ * #,##0.0_ ;_ * \-#,##0.0_ ;_ * &quot;-&quot;??_ ;_ @_ ">
                  <c:v>28.694822072531807</c:v>
                </c:pt>
                <c:pt idx="395" formatCode="_ * #,##0.0_ ;_ * \-#,##0.0_ ;_ * &quot;-&quot;??_ ;_ @_ ">
                  <c:v>28.881458801115873</c:v>
                </c:pt>
                <c:pt idx="396" formatCode="_ * #,##0.0_ ;_ * \-#,##0.0_ ;_ * &quot;-&quot;??_ ;_ @_ ">
                  <c:v>28.819010682452202</c:v>
                </c:pt>
                <c:pt idx="397" formatCode="_ * #,##0.0_ ;_ * \-#,##0.0_ ;_ * &quot;-&quot;??_ ;_ @_ ">
                  <c:v>29.020684493434036</c:v>
                </c:pt>
                <c:pt idx="398" formatCode="_ * #,##0.0_ ;_ * \-#,##0.0_ ;_ * &quot;-&quot;??_ ;_ @_ ">
                  <c:v>28.989548887528066</c:v>
                </c:pt>
                <c:pt idx="399" formatCode="_ * #,##0.0_ ;_ * \-#,##0.0_ ;_ * &quot;-&quot;??_ ;_ @_ ">
                  <c:v>29.05305844730217</c:v>
                </c:pt>
                <c:pt idx="400" formatCode="_ * #,##0.0_ ;_ * \-#,##0.0_ ;_ * &quot;-&quot;??_ ;_ @_ ">
                  <c:v>28.843423827992108</c:v>
                </c:pt>
                <c:pt idx="401" formatCode="_ * #,##0.0_ ;_ * \-#,##0.0_ ;_ * &quot;-&quot;??_ ;_ @_ ">
                  <c:v>28.846077430768183</c:v>
                </c:pt>
                <c:pt idx="402" formatCode="_ * #,##0.0_ ;_ * \-#,##0.0_ ;_ * &quot;-&quot;??_ ;_ @_ ">
                  <c:v>28.777614479145406</c:v>
                </c:pt>
                <c:pt idx="403" formatCode="_ * #,##0.0_ ;_ * \-#,##0.0_ ;_ * &quot;-&quot;??_ ;_ @_ ">
                  <c:v>28.983003334013741</c:v>
                </c:pt>
                <c:pt idx="404" formatCode="_ * #,##0.0_ ;_ * \-#,##0.0_ ;_ * &quot;-&quot;??_ ;_ @_ ">
                  <c:v>28.898618765734504</c:v>
                </c:pt>
                <c:pt idx="405" formatCode="_ * #,##0.0_ ;_ * \-#,##0.0_ ;_ * &quot;-&quot;??_ ;_ @_ ">
                  <c:v>28.640511669048106</c:v>
                </c:pt>
                <c:pt idx="406" formatCode="_ * #,##0.0_ ;_ * \-#,##0.0_ ;_ * &quot;-&quot;??_ ;_ @_ ">
                  <c:v>28.58177859427094</c:v>
                </c:pt>
                <c:pt idx="407" formatCode="_ * #,##0.0_ ;_ * \-#,##0.0_ ;_ * &quot;-&quot;??_ ;_ @_ ">
                  <c:v>28.551350615771927</c:v>
                </c:pt>
                <c:pt idx="408" formatCode="_ * #,##0.0_ ;_ * \-#,##0.0_ ;_ * &quot;-&quot;??_ ;_ @_ ">
                  <c:v>28.32031026740151</c:v>
                </c:pt>
                <c:pt idx="409" formatCode="_ * #,##0.0_ ;_ * \-#,##0.0_ ;_ * &quot;-&quot;??_ ;_ @_ ">
                  <c:v>28.516323059127714</c:v>
                </c:pt>
                <c:pt idx="410" formatCode="_ * #,##0.0_ ;_ * \-#,##0.0_ ;_ * &quot;-&quot;??_ ;_ @_ ">
                  <c:v>28.887650540926721</c:v>
                </c:pt>
                <c:pt idx="411" formatCode="_ * #,##0.0_ ;_ * \-#,##0.0_ ;_ * &quot;-&quot;??_ ;_ @_ ">
                  <c:v>28.635381370347694</c:v>
                </c:pt>
                <c:pt idx="412" formatCode="_ * #,##0.0_ ;_ * \-#,##0.0_ ;_ * &quot;-&quot;??_ ;_ @_ ">
                  <c:v>28.653072055521534</c:v>
                </c:pt>
                <c:pt idx="413" formatCode="_ * #,##0.0_ ;_ * \-#,##0.0_ ;_ * &quot;-&quot;??_ ;_ @_ ">
                  <c:v>28.297843097230729</c:v>
                </c:pt>
                <c:pt idx="414" formatCode="_ * #,##0.0_ ;_ * \-#,##0.0_ ;_ * &quot;-&quot;??_ ;_ @_ ">
                  <c:v>28.558249982989725</c:v>
                </c:pt>
                <c:pt idx="415" formatCode="_ * #,##0.0_ ;_ * \-#,##0.0_ ;_ * &quot;-&quot;??_ ;_ @_ ">
                  <c:v>28.272722324283869</c:v>
                </c:pt>
                <c:pt idx="416" formatCode="_ * #,##0.0_ ;_ * \-#,##0.0_ ;_ * &quot;-&quot;??_ ;_ @_ ">
                  <c:v>28.243355786895282</c:v>
                </c:pt>
                <c:pt idx="417" formatCode="_ * #,##0.0_ ;_ * \-#,##0.0_ ;_ * &quot;-&quot;??_ ;_ @_ ">
                  <c:v>28.327032727767573</c:v>
                </c:pt>
                <c:pt idx="418" formatCode="_ * #,##0.0_ ;_ * \-#,##0.0_ ;_ * &quot;-&quot;??_ ;_ @_ ">
                  <c:v>28.278206436687761</c:v>
                </c:pt>
                <c:pt idx="419" formatCode="_ * #,##0.0_ ;_ * \-#,##0.0_ ;_ * &quot;-&quot;??_ ;_ @_ ">
                  <c:v>28.227257263387084</c:v>
                </c:pt>
                <c:pt idx="420" formatCode="_ * #,##0.0_ ;_ * \-#,##0.0_ ;_ * &quot;-&quot;??_ ;_ @_ ">
                  <c:v>28.21009729876846</c:v>
                </c:pt>
                <c:pt idx="421" formatCode="_ * #,##0.0_ ;_ * \-#,##0.0_ ;_ * &quot;-&quot;??_ ;_ @_ ">
                  <c:v>28.283336735388175</c:v>
                </c:pt>
                <c:pt idx="422" formatCode="_ * #,##0.0_ ;_ * \-#,##0.0_ ;_ * &quot;-&quot;??_ ;_ @_ ">
                  <c:v>28.275022113356467</c:v>
                </c:pt>
                <c:pt idx="423" formatCode="_ * #,##0.0_ ;_ * \-#,##0.0_ ;_ * &quot;-&quot;??_ ;_ @_ ">
                  <c:v>28.144818670476969</c:v>
                </c:pt>
                <c:pt idx="424" formatCode="_ * #,##0.0_ ;_ * \-#,##0.0_ ;_ * &quot;-&quot;??_ ;_ @_ ">
                  <c:v>28.108906579574064</c:v>
                </c:pt>
                <c:pt idx="425" formatCode="_ * #,##0.0_ ;_ * \-#,##0.0_ ;_ * &quot;-&quot;??_ ;_ @_ ">
                  <c:v>28.072817581819418</c:v>
                </c:pt>
                <c:pt idx="426" formatCode="_ * #,##0.0_ ;_ * \-#,##0.0_ ;_ * &quot;-&quot;??_ ;_ @_ ">
                  <c:v>27.945798462271213</c:v>
                </c:pt>
                <c:pt idx="427" formatCode="_ * #,##0.0_ ;_ * \-#,##0.0_ ;_ * &quot;-&quot;??_ ;_ @_ ">
                  <c:v>27.474164795536506</c:v>
                </c:pt>
                <c:pt idx="428" formatCode="_ * #,##0.0_ ;_ * \-#,##0.0_ ;_ * &quot;-&quot;??_ ;_ @_ ">
                  <c:v>27.400040824658088</c:v>
                </c:pt>
                <c:pt idx="429" formatCode="_ * #,##0.0_ ;_ * \-#,##0.0_ ;_ * &quot;-&quot;??_ ;_ @_ ">
                  <c:v>27.544573722528408</c:v>
                </c:pt>
                <c:pt idx="430" formatCode="_ * #,##0.0_ ;_ * \-#,##0.0_ ;_ * &quot;-&quot;??_ ;_ @_ ">
                  <c:v>27.303626590460638</c:v>
                </c:pt>
                <c:pt idx="431" formatCode="_ * #,##0.0_ ;_ * \-#,##0.0_ ;_ * &quot;-&quot;??_ ;_ @_ ">
                  <c:v>27.017391304347825</c:v>
                </c:pt>
                <c:pt idx="432" formatCode="_ * #,##0.0_ ;_ * \-#,##0.0_ ;_ * &quot;-&quot;??_ ;_ @_ ">
                  <c:v>26.972987684561478</c:v>
                </c:pt>
                <c:pt idx="433" formatCode="_ * #,##0.0_ ;_ * \-#,##0.0_ ;_ * &quot;-&quot;??_ ;_ @_ ">
                  <c:v>26.818724909845546</c:v>
                </c:pt>
                <c:pt idx="434" formatCode="_ * #,##0.0_ ;_ * \-#,##0.0_ ;_ * &quot;-&quot;??_ ;_ @_ ">
                  <c:v>26.808818126148193</c:v>
                </c:pt>
                <c:pt idx="435" formatCode="_ * #,##0.0_ ;_ * \-#,##0.0_ ;_ * &quot;-&quot;??_ ;_ @_ ">
                  <c:v>26.686929305300403</c:v>
                </c:pt>
                <c:pt idx="436" formatCode="_ * #,##0.0_ ;_ * \-#,##0.0_ ;_ * &quot;-&quot;??_ ;_ @_ ">
                  <c:v>26.406178131591485</c:v>
                </c:pt>
                <c:pt idx="437" formatCode="_ * #,##0.0_ ;_ * \-#,##0.0_ ;_ * &quot;-&quot;??_ ;_ @_ ">
                  <c:v>26.451466285636524</c:v>
                </c:pt>
                <c:pt idx="438" formatCode="_ * #,##0.0_ ;_ * \-#,##0.0_ ;_ * &quot;-&quot;??_ ;_ @_ ">
                  <c:v>26.554426073348299</c:v>
                </c:pt>
                <c:pt idx="439" formatCode="_ * #,##0.0_ ;_ * \-#,##0.0_ ;_ * &quot;-&quot;??_ ;_ @_ ">
                  <c:v>26.530012927808396</c:v>
                </c:pt>
                <c:pt idx="440" formatCode="_ * #,##0.0_ ;_ * \-#,##0.0_ ;_ * &quot;-&quot;??_ ;_ @_ ">
                  <c:v>26.702674015105124</c:v>
                </c:pt>
                <c:pt idx="441" formatCode="_ * #,##0.0_ ;_ * \-#,##0.0_ ;_ * &quot;-&quot;??_ ;_ @_ ">
                  <c:v>26.712580798802474</c:v>
                </c:pt>
                <c:pt idx="442" formatCode="_ * #,##0.0_ ;_ * \-#,##0.0_ ;_ * &quot;-&quot;??_ ;_ @_ ">
                  <c:v>26.648186704769678</c:v>
                </c:pt>
                <c:pt idx="443" formatCode="_ * #,##0.0_ ;_ * \-#,##0.0_ ;_ * &quot;-&quot;??_ ;_ @_ ">
                  <c:v>26.51479893855889</c:v>
                </c:pt>
                <c:pt idx="444" formatCode="_ * #,##0.0_ ;_ * \-#,##0.0_ ;_ * &quot;-&quot;??_ ;_ @_ ">
                  <c:v>26.440674967680479</c:v>
                </c:pt>
                <c:pt idx="445" formatCode="_ * #,##0.0_ ;_ * \-#,##0.0_ ;_ * &quot;-&quot;??_ ;_ @_ ">
                  <c:v>26.053072055521536</c:v>
                </c:pt>
                <c:pt idx="446" formatCode="_ * #,##0.0_ ;_ * \-#,##0.0_ ;_ * &quot;-&quot;??_ ;_ @_ ">
                  <c:v>25.996284956113492</c:v>
                </c:pt>
                <c:pt idx="447" formatCode="_ * #,##0.0_ ;_ * \-#,##0.0_ ;_ * &quot;-&quot;??_ ;_ @_ ">
                  <c:v>25.98478601075049</c:v>
                </c:pt>
                <c:pt idx="448" formatCode="_ * #,##0.0_ ;_ * \-#,##0.0_ ;_ * &quot;-&quot;??_ ;_ @_ ">
                  <c:v>25.915438524869021</c:v>
                </c:pt>
                <c:pt idx="449" formatCode="_ * #,##0.0_ ;_ * \-#,##0.0_ ;_ * &quot;-&quot;??_ ;_ @_ ">
                  <c:v>25.934190651153298</c:v>
                </c:pt>
                <c:pt idx="450" formatCode="_ * #,##0.0_ ;_ * \-#,##0.0_ ;_ * &quot;-&quot;??_ ;_ @_ ">
                  <c:v>26.044757433489828</c:v>
                </c:pt>
                <c:pt idx="451" formatCode="_ * #,##0.0_ ;_ * \-#,##0.0_ ;_ * &quot;-&quot;??_ ;_ @_ ">
                  <c:v>26.087215077907061</c:v>
                </c:pt>
                <c:pt idx="452" formatCode="_ * #,##0.0_ ;_ * \-#,##0.0_ ;_ * &quot;-&quot;??_ ;_ @_ ">
                  <c:v>26.196720419133158</c:v>
                </c:pt>
                <c:pt idx="453" formatCode="_ * #,##0.0_ ;_ * \-#,##0.0_ ;_ * &quot;-&quot;??_ ;_ @_ ">
                  <c:v>26.050772266448934</c:v>
                </c:pt>
                <c:pt idx="454" formatCode="_ * #,##0.0_ ;_ * \-#,##0.0_ ;_ * &quot;-&quot;??_ ;_ @_ ">
                  <c:v>26.094468258828332</c:v>
                </c:pt>
                <c:pt idx="455" formatCode="_ * #,##0.0_ ;_ * \-#,##0.0_ ;_ * &quot;-&quot;??_ ;_ @_ ">
                  <c:v>26.316663264611822</c:v>
                </c:pt>
                <c:pt idx="456" formatCode="_ * #,##0.0_ ;_ * \-#,##0.0_ ;_ * &quot;-&quot;??_ ;_ @_ ">
                  <c:v>25.977709736680954</c:v>
                </c:pt>
                <c:pt idx="457" formatCode="_ * #,##0.0_ ;_ * \-#,##0.0_ ;_ * &quot;-&quot;??_ ;_ @_ ">
                  <c:v>26.173545621555419</c:v>
                </c:pt>
                <c:pt idx="458" formatCode="_ * #,##0.0_ ;_ * \-#,##0.0_ ;_ * &quot;-&quot;??_ ;_ @_ ">
                  <c:v>26.018752126284273</c:v>
                </c:pt>
                <c:pt idx="459" formatCode="_ * #,##0.0_ ;_ * \-#,##0.0_ ;_ * &quot;-&quot;??_ ;_ @_ ">
                  <c:v>26.075008505137102</c:v>
                </c:pt>
                <c:pt idx="460" formatCode="_ * #,##0.0_ ;_ * \-#,##0.0_ ;_ * &quot;-&quot;??_ ;_ @_ ">
                  <c:v>25.911192760427298</c:v>
                </c:pt>
                <c:pt idx="461" formatCode="_ * #,##0.0_ ;_ * \-#,##0.0_ ;_ * &quot;-&quot;??_ ;_ @_ ">
                  <c:v>26.157093284343741</c:v>
                </c:pt>
                <c:pt idx="462" formatCode="_ * #,##0.0_ ;_ * \-#,##0.0_ ;_ * &quot;-&quot;??_ ;_ @_ ">
                  <c:v>26.144002177315095</c:v>
                </c:pt>
                <c:pt idx="463" formatCode="_ * #,##0.0_ ;_ * \-#,##0.0_ ;_ * &quot;-&quot;??_ ;_ @_ ">
                  <c:v>26.178322106552358</c:v>
                </c:pt>
                <c:pt idx="464" formatCode="_ * #,##0.0_ ;_ * \-#,##0.0_ ;_ * &quot;-&quot;??_ ;_ @_ ">
                  <c:v>26.047587943117644</c:v>
                </c:pt>
                <c:pt idx="465" formatCode="_ * #,##0.0_ ;_ * \-#,##0.0_ ;_ * &quot;-&quot;??_ ;_ @_ ">
                  <c:v>26.218656868748724</c:v>
                </c:pt>
                <c:pt idx="466" formatCode="_ * #,##0.0_ ;_ * \-#,##0.0_ ;_ * &quot;-&quot;??_ ;_ @_ ">
                  <c:v>26.28871198203715</c:v>
                </c:pt>
                <c:pt idx="467" formatCode="_ * #,##0.0_ ;_ * \-#,##0.0_ ;_ * &quot;-&quot;??_ ;_ @_ ">
                  <c:v>26.396802068449347</c:v>
                </c:pt>
                <c:pt idx="468" formatCode="_ * #,##0.0_ ;_ * \-#,##0.0_ ;_ * &quot;-&quot;??_ ;_ @_ ">
                  <c:v>26.619881608491529</c:v>
                </c:pt>
                <c:pt idx="469" formatCode="_ * #,##0.0_ ;_ * \-#,##0.0_ ;_ * &quot;-&quot;??_ ;_ @_ ">
                  <c:v>26.444920732122199</c:v>
                </c:pt>
                <c:pt idx="470" formatCode="_ * #,##0.0_ ;_ * \-#,##0.0_ ;_ * &quot;-&quot;??_ ;_ @_ ">
                  <c:v>26.716295842688982</c:v>
                </c:pt>
                <c:pt idx="471" formatCode="_ * #,##0.0_ ;_ * \-#,##0.0_ ;_ * &quot;-&quot;??_ ;_ @_ ">
                  <c:v>26.806164523372114</c:v>
                </c:pt>
                <c:pt idx="472" formatCode="_ * #,##0.0_ ;_ * \-#,##0.0_ ;_ * &quot;-&quot;??_ ;_ @_ ">
                  <c:v>26.412192964550588</c:v>
                </c:pt>
                <c:pt idx="473" formatCode="_ * #,##0.0_ ;_ * \-#,##0.0_ ;_ * &quot;-&quot;??_ ;_ @_ ">
                  <c:v>27.008545961760905</c:v>
                </c:pt>
                <c:pt idx="474" formatCode="_ * #,##0.0_ ;_ * \-#,##0.0_ ;_ * &quot;-&quot;??_ ;_ @_ ">
                  <c:v>26.806872150779068</c:v>
                </c:pt>
                <c:pt idx="475" formatCode="_ * #,##0.0_ ;_ * \-#,##0.0_ ;_ * &quot;-&quot;??_ ;_ @_ ">
                  <c:v>26.579900659998639</c:v>
                </c:pt>
                <c:pt idx="476" formatCode="_ * #,##0.0_ ;_ * \-#,##0.0_ ;_ * &quot;-&quot;??_ ;_ @_ ">
                  <c:v>26.534789412805335</c:v>
                </c:pt>
                <c:pt idx="477" formatCode="_ * #,##0.0_ ;_ * \-#,##0.0_ ;_ * &quot;-&quot;??_ ;_ @_ ">
                  <c:v>26.668177179016126</c:v>
                </c:pt>
                <c:pt idx="478" formatCode="_ * #,##0.0_ ;_ * \-#,##0.0_ ;_ * &quot;-&quot;??_ ;_ @_ ">
                  <c:v>26.78405116690481</c:v>
                </c:pt>
                <c:pt idx="479" formatCode="_ * #,##0.0_ ;_ * \-#,##0.0_ ;_ * &quot;-&quot;??_ ;_ @_ ">
                  <c:v>26.586623120364699</c:v>
                </c:pt>
                <c:pt idx="480" formatCode="_ * #,##0.0_ ;_ * \-#,##0.0_ ;_ * &quot;-&quot;??_ ;_ @_ ">
                  <c:v>26.406178131591485</c:v>
                </c:pt>
                <c:pt idx="481" formatCode="_ * #,##0.0_ ;_ * \-#,##0.0_ ;_ * &quot;-&quot;??_ ;_ @_ ">
                  <c:v>26.49392393005375</c:v>
                </c:pt>
                <c:pt idx="482" formatCode="_ * #,##0.0_ ;_ * \-#,##0.0_ ;_ * &quot;-&quot;??_ ;_ @_ ">
                  <c:v>26.52258284003538</c:v>
                </c:pt>
                <c:pt idx="483" formatCode="_ * #,##0.0_ ;_ * \-#,##0.0_ ;_ * &quot;-&quot;??_ ;_ @_ ">
                  <c:v>26.605021432945499</c:v>
                </c:pt>
                <c:pt idx="484" formatCode="_ * #,##0.0_ ;_ * \-#,##0.0_ ;_ * &quot;-&quot;??_ ;_ @_ ">
                  <c:v>26.2650064639042</c:v>
                </c:pt>
                <c:pt idx="485" formatCode="_ * #,##0.0_ ;_ * \-#,##0.0_ ;_ * &quot;-&quot;??_ ;_ @_ ">
                  <c:v>26.09995237123222</c:v>
                </c:pt>
                <c:pt idx="486" formatCode="_ * #,##0.0_ ;_ * \-#,##0.0_ ;_ * &quot;-&quot;??_ ;_ @_ ">
                  <c:v>26.307110294617949</c:v>
                </c:pt>
                <c:pt idx="487" formatCode="_ * #,##0.0_ ;_ * \-#,##0.0_ ;_ * &quot;-&quot;??_ ;_ @_ ">
                  <c:v>26.215295638565692</c:v>
                </c:pt>
                <c:pt idx="488" formatCode="_ * #,##0.0_ ;_ * \-#,##0.0_ ;_ * &quot;-&quot;??_ ;_ @_ ">
                  <c:v>26.064571000884531</c:v>
                </c:pt>
                <c:pt idx="489" formatCode="_ * #,##0.0_ ;_ * \-#,##0.0_ ;_ * &quot;-&quot;??_ ;_ @_ ">
                  <c:v>25.819731918078521</c:v>
                </c:pt>
                <c:pt idx="490" formatCode="_ * #,##0.0_ ;_ * \-#,##0.0_ ;_ * &quot;-&quot;??_ ;_ @_ ">
                  <c:v>25.950289174661496</c:v>
                </c:pt>
                <c:pt idx="491" formatCode="_ * #,##0.0_ ;_ * \-#,##0.0_ ;_ * &quot;-&quot;??_ ;_ @_ ">
                  <c:v>25.98938558889569</c:v>
                </c:pt>
                <c:pt idx="492" formatCode="_ * #,##0.0_ ;_ * \-#,##0.0_ ;_ * &quot;-&quot;??_ ;_ @_ ">
                  <c:v>26.017513778322108</c:v>
                </c:pt>
                <c:pt idx="493" formatCode="_ * #,##0.0_ ;_ * \-#,##0.0_ ;_ * &quot;-&quot;??_ ;_ @_ ">
                  <c:v>26.204327413757909</c:v>
                </c:pt>
                <c:pt idx="494" formatCode="_ * #,##0.0_ ;_ * \-#,##0.0_ ;_ * &quot;-&quot;??_ ;_ @_ ">
                  <c:v>26.23387085799823</c:v>
                </c:pt>
                <c:pt idx="495" formatCode="_ * #,##0.0_ ;_ * \-#,##0.0_ ;_ * &quot;-&quot;??_ ;_ @_ ">
                  <c:v>26.14382527046336</c:v>
                </c:pt>
                <c:pt idx="496" formatCode="_ * #,##0.0_ ;_ * \-#,##0.0_ ;_ * &quot;-&quot;??_ ;_ @_ ">
                  <c:v>26.078015921616657</c:v>
                </c:pt>
                <c:pt idx="497" formatCode="_ * #,##0.0_ ;_ * \-#,##0.0_ ;_ * &quot;-&quot;??_ ;_ @_ ">
                  <c:v>26.091814656052254</c:v>
                </c:pt>
                <c:pt idx="498" formatCode="_ * #,##0.0_ ;_ * \-#,##0.0_ ;_ * &quot;-&quot;??_ ;_ @_ ">
                  <c:v>26.190351772470574</c:v>
                </c:pt>
                <c:pt idx="499" formatCode="_ * #,##0.0_ ;_ * \-#,##0.0_ ;_ * &quot;-&quot;??_ ;_ @_ ">
                  <c:v>25.552071851398246</c:v>
                </c:pt>
                <c:pt idx="500" formatCode="_ * #,##0.0_ ;_ * \-#,##0.0_ ;_ * &quot;-&quot;??_ ;_ @_ ">
                  <c:v>25.383302714839761</c:v>
                </c:pt>
                <c:pt idx="501" formatCode="_ * #,##0.0_ ;_ * \-#,##0.0_ ;_ * &quot;-&quot;??_ ;_ @_ ">
                  <c:v>25.385602503912363</c:v>
                </c:pt>
                <c:pt idx="502" formatCode="_ * #,##0.0_ ;_ * \-#,##0.0_ ;_ * &quot;-&quot;??_ ;_ @_ ">
                  <c:v>25.58232292304552</c:v>
                </c:pt>
                <c:pt idx="503" formatCode="_ * #,##0.0_ ;_ * \-#,##0.0_ ;_ * &quot;-&quot;??_ ;_ @_ ">
                  <c:v>25.527127985303125</c:v>
                </c:pt>
                <c:pt idx="504" formatCode="_ * #,##0.0_ ;_ * \-#,##0.0_ ;_ * &quot;-&quot;??_ ;_ @_ ">
                  <c:v>25.445043206096482</c:v>
                </c:pt>
                <c:pt idx="505" formatCode="_ * #,##0.0_ ;_ * \-#,##0.0_ ;_ * &quot;-&quot;??_ ;_ @_ ">
                  <c:v>25.089637340953939</c:v>
                </c:pt>
                <c:pt idx="506" formatCode="_ * #,##0.0_ ;_ * \-#,##0.0_ ;_ * &quot;-&quot;??_ ;_ @_ ">
                  <c:v>25.575069742124246</c:v>
                </c:pt>
                <c:pt idx="507" formatCode="_ * #,##0.0_ ;_ * \-#,##0.0_ ;_ * &quot;-&quot;??_ ;_ @_ ">
                  <c:v>25.699965979451587</c:v>
                </c:pt>
                <c:pt idx="508" formatCode="_ * #,##0.0_ ;_ * \-#,##0.0_ ;_ * &quot;-&quot;??_ ;_ @_ ">
                  <c:v>25.693420425937262</c:v>
                </c:pt>
                <c:pt idx="509" formatCode="_ * #,##0.0_ ;_ * \-#,##0.0_ ;_ * &quot;-&quot;??_ ;_ @_ ">
                  <c:v>25.927822004490711</c:v>
                </c:pt>
                <c:pt idx="510" formatCode="_ * #,##0.0_ ;_ * \-#,##0.0_ ;_ * &quot;-&quot;??_ ;_ @_ ">
                  <c:v>25.875811390079608</c:v>
                </c:pt>
                <c:pt idx="511" formatCode="_ * #,##0.0_ ;_ * \-#,##0.0_ ;_ * &quot;-&quot;??_ ;_ @_ ">
                  <c:v>25.843791249914947</c:v>
                </c:pt>
                <c:pt idx="512" formatCode="_ * #,##0.0_ ;_ * \-#,##0.0_ ;_ * &quot;-&quot;??_ ;_ @_ ">
                  <c:v>25.693597332789007</c:v>
                </c:pt>
                <c:pt idx="513" formatCode="_ * #,##0.0_ ;_ * \-#,##0.0_ ;_ * &quot;-&quot;??_ ;_ @_ ">
                  <c:v>25.733401374430159</c:v>
                </c:pt>
                <c:pt idx="514" formatCode="_ * #,##0.0_ ;_ * \-#,##0.0_ ;_ * &quot;-&quot;??_ ;_ @_ ">
                  <c:v>25.629910866163165</c:v>
                </c:pt>
                <c:pt idx="515" formatCode="_ * #,##0.0_ ;_ * \-#,##0.0_ ;_ * &quot;-&quot;??_ ;_ @_ ">
                  <c:v>26.001945975369122</c:v>
                </c:pt>
                <c:pt idx="516" formatCode="_ * #,##0.0_ ;_ * \-#,##0.0_ ;_ * &quot;-&quot;??_ ;_ @_ ">
                  <c:v>25.995577328706542</c:v>
                </c:pt>
                <c:pt idx="517" formatCode="_ * #,##0.0_ ;_ * \-#,##0.0_ ;_ * &quot;-&quot;??_ ;_ @_ ">
                  <c:v>26.078546642171872</c:v>
                </c:pt>
                <c:pt idx="518" formatCode="_ * #,##0.0_ ;_ * \-#,##0.0_ ;_ * &quot;-&quot;??_ ;_ @_ ">
                  <c:v>26.217241613934817</c:v>
                </c:pt>
                <c:pt idx="519" formatCode="_ * #,##0.0_ ;_ * \-#,##0.0_ ;_ * &quot;-&quot;??_ ;_ @_ ">
                  <c:v>25.921453357828128</c:v>
                </c:pt>
                <c:pt idx="520" formatCode="_ * #,##0.0_ ;_ * \-#,##0.0_ ;_ * &quot;-&quot;??_ ;_ @_ ">
                  <c:v>25.967095325576647</c:v>
                </c:pt>
                <c:pt idx="521" formatCode="_ * #,##0.0_ ;_ * \-#,##0.0_ ;_ * &quot;-&quot;??_ ;_ @_ ">
                  <c:v>26.048826291079809</c:v>
                </c:pt>
                <c:pt idx="522" formatCode="_ * #,##0.0_ ;_ * \-#,##0.0_ ;_ * &quot;-&quot;??_ ;_ @_ ">
                  <c:v>26.054664217187181</c:v>
                </c:pt>
                <c:pt idx="523" formatCode="_ * #,##0.0_ ;_ * \-#,##0.0_ ;_ * &quot;-&quot;??_ ;_ @_ ">
                  <c:v>26.118350683813027</c:v>
                </c:pt>
                <c:pt idx="524" formatCode="_ * #,##0.0_ ;_ * \-#,##0.0_ ;_ * &quot;-&quot;??_ ;_ @_ ">
                  <c:v>25.873865414710483</c:v>
                </c:pt>
                <c:pt idx="525" formatCode="_ * #,##0.0_ ;_ * \-#,##0.0_ ;_ * &quot;-&quot;??_ ;_ @_ ">
                  <c:v>26.062978839218889</c:v>
                </c:pt>
                <c:pt idx="526" formatCode="_ * #,##0.0_ ;_ * \-#,##0.0_ ;_ * &quot;-&quot;??_ ;_ @_ ">
                  <c:v>25.827162005851534</c:v>
                </c:pt>
                <c:pt idx="527" formatCode="_ * #,##0.0_ ;_ * \-#,##0.0_ ;_ * &quot;-&quot;??_ ;_ @_ ">
                  <c:v>25.75905286793223</c:v>
                </c:pt>
                <c:pt idx="528" formatCode="_ * #,##0.0_ ;_ * \-#,##0.0_ ;_ * &quot;-&quot;??_ ;_ @_ ">
                  <c:v>25.907123902837316</c:v>
                </c:pt>
                <c:pt idx="529" formatCode="_ * #,##0.0_ ;_ * \-#,##0.0_ ;_ * &quot;-&quot;??_ ;_ @_ ">
                  <c:v>25.940382390964142</c:v>
                </c:pt>
                <c:pt idx="530" formatCode="_ * #,##0.0_ ;_ * \-#,##0.0_ ;_ * &quot;-&quot;??_ ;_ @_ ">
                  <c:v>25.866966047492685</c:v>
                </c:pt>
                <c:pt idx="531" formatCode="_ * #,##0.0_ ;_ * \-#,##0.0_ ;_ * &quot;-&quot;??_ ;_ @_ ">
                  <c:v>25.680329318908623</c:v>
                </c:pt>
                <c:pt idx="532" formatCode="_ * #,##0.0_ ;_ * \-#,##0.0_ ;_ * &quot;-&quot;??_ ;_ @_ ">
                  <c:v>25.927468190787234</c:v>
                </c:pt>
                <c:pt idx="533" formatCode="_ * #,##0.0_ ;_ * \-#,##0.0_ ;_ * &quot;-&quot;??_ ;_ @_ ">
                  <c:v>25.974171599646187</c:v>
                </c:pt>
                <c:pt idx="534" formatCode="_ * #,##0.0_ ;_ * \-#,##0.0_ ;_ * &quot;-&quot;??_ ;_ @_ ">
                  <c:v>25.839191671769747</c:v>
                </c:pt>
                <c:pt idx="535" formatCode="_ * #,##0.0_ ;_ * \-#,##0.0_ ;_ * &quot;-&quot;??_ ;_ @_ ">
                  <c:v>25.804341021977276</c:v>
                </c:pt>
                <c:pt idx="536" formatCode="_ * #,##0.0_ ;_ * \-#,##0.0_ ;_ * &quot;-&quot;??_ ;_ @_ ">
                  <c:v>25.644594134857453</c:v>
                </c:pt>
                <c:pt idx="537" formatCode="_ * #,##0.0_ ;_ * \-#,##0.0_ ;_ * &quot;-&quot;??_ ;_ @_ ">
                  <c:v>25.601428863033274</c:v>
                </c:pt>
                <c:pt idx="538" formatCode="_ * #,##0.0_ ;_ * \-#,##0.0_ ;_ * &quot;-&quot;??_ ;_ @_ ">
                  <c:v>25.467156562563787</c:v>
                </c:pt>
                <c:pt idx="539" formatCode="_ * #,##0.0_ ;_ * \-#,##0.0_ ;_ * &quot;-&quot;??_ ;_ @_ ">
                  <c:v>25.462026263863372</c:v>
                </c:pt>
                <c:pt idx="540" formatCode="_ * #,##0.0_ ;_ * \-#,##0.0_ ;_ * &quot;-&quot;??_ ;_ @_ ">
                  <c:v>24.985616112131726</c:v>
                </c:pt>
                <c:pt idx="541" formatCode="_ * #,##0.0_ ;_ * \-#,##0.0_ ;_ * &quot;-&quot;??_ ;_ @_ ">
                  <c:v>24.950234741784037</c:v>
                </c:pt>
                <c:pt idx="542" formatCode="_ * #,##0.0_ ;_ * \-#,##0.0_ ;_ * &quot;-&quot;??_ ;_ @_ ">
                  <c:v>24.894332176634688</c:v>
                </c:pt>
                <c:pt idx="543" formatCode="_ * #,##0.0_ ;_ * \-#,##0.0_ ;_ * &quot;-&quot;??_ ;_ @_ ">
                  <c:v>24.747853303395249</c:v>
                </c:pt>
                <c:pt idx="544" formatCode="_ * #,##0.0_ ;_ * \-#,##0.0_ ;_ * &quot;-&quot;??_ ;_ @_ ">
                  <c:v>24.535034360753897</c:v>
                </c:pt>
                <c:pt idx="545" formatCode="_ * #,##0.0_ ;_ * \-#,##0.0_ ;_ * &quot;-&quot;??_ ;_ @_ ">
                  <c:v>24.4775396339389</c:v>
                </c:pt>
                <c:pt idx="546" formatCode="_ * #,##0.0_ ;_ * \-#,##0.0_ ;_ * &quot;-&quot;??_ ;_ @_ ">
                  <c:v>24.613934816629243</c:v>
                </c:pt>
                <c:pt idx="547" formatCode="_ * #,##0.0_ ;_ * \-#,##0.0_ ;_ * &quot;-&quot;??_ ;_ @_ ">
                  <c:v>24.73440838266313</c:v>
                </c:pt>
                <c:pt idx="548" formatCode="_ * #,##0.0_ ;_ * \-#,##0.0_ ;_ * &quot;-&quot;??_ ;_ @_ ">
                  <c:v>24.648962373273452</c:v>
                </c:pt>
                <c:pt idx="549" formatCode="_ * #,##0.0_ ;_ * \-#,##0.0_ ;_ * &quot;-&quot;??_ ;_ @_ ">
                  <c:v>24.272681499625772</c:v>
                </c:pt>
                <c:pt idx="550" formatCode="_ * #,##0.0_ ;_ * \-#,##0.0_ ;_ * &quot;-&quot;??_ ;_ @_ ">
                  <c:v>24.209879567258625</c:v>
                </c:pt>
                <c:pt idx="551" formatCode="_ * #,##0.0_ ;_ * \-#,##0.0_ ;_ * &quot;-&quot;??_ ;_ @_ ">
                  <c:v>24.141062801932364</c:v>
                </c:pt>
                <c:pt idx="552" formatCode="_ * #,##0.0_ ;_ * \-#,##0.0_ ;_ * &quot;-&quot;??_ ;_ @_ ">
                  <c:v>23.91143770837586</c:v>
                </c:pt>
                <c:pt idx="553" formatCode="_ * #,##0.0_ ;_ * \-#,##0.0_ ;_ * &quot;-&quot;??_ ;_ @_ ">
                  <c:v>23.93408178539838</c:v>
                </c:pt>
                <c:pt idx="554" formatCode="_ * #,##0.0_ ;_ * \-#,##0.0_ ;_ * &quot;-&quot;??_ ;_ @_ ">
                  <c:v>23.83377560046268</c:v>
                </c:pt>
                <c:pt idx="555" formatCode="_ * #,##0.0_ ;_ * \-#,##0.0_ ;_ * &quot;-&quot;??_ ;_ @_ ">
                  <c:v>24.032972715520174</c:v>
                </c:pt>
                <c:pt idx="556" formatCode="_ * #,##0.0_ ;_ * \-#,##0.0_ ;_ * &quot;-&quot;??_ ;_ @_ ">
                  <c:v>24.019350887936312</c:v>
                </c:pt>
                <c:pt idx="557" formatCode="_ * #,##0.0_ ;_ * \-#,##0.0_ ;_ * &quot;-&quot;??_ ;_ @_ ">
                  <c:v>23.81997686602708</c:v>
                </c:pt>
                <c:pt idx="558" formatCode="_ * #,##0.0_ ;_ * \-#,##0.0_ ;_ * &quot;-&quot;??_ ;_ @_ ">
                  <c:v>23.770089133836841</c:v>
                </c:pt>
                <c:pt idx="559" formatCode="_ * #,##0.0_ ;_ * \-#,##0.0_ ;_ * &quot;-&quot;??_ ;_ @_ ">
                  <c:v>23.760359256991219</c:v>
                </c:pt>
                <c:pt idx="560" formatCode="_ * #,##0.0_ ;_ * \-#,##0.0_ ;_ * &quot;-&quot;??_ ;_ @_ ">
                  <c:v>23.809008641219293</c:v>
                </c:pt>
                <c:pt idx="561" formatCode="_ * #,##0.0_ ;_ * \-#,##0.0_ ;_ * &quot;-&quot;??_ ;_ @_ ">
                  <c:v>23.759651629584265</c:v>
                </c:pt>
                <c:pt idx="562" formatCode="_ * #,##0.0_ ;_ * \-#,##0.0_ ;_ * &quot;-&quot;??_ ;_ @_ ">
                  <c:v>23.723916445533099</c:v>
                </c:pt>
                <c:pt idx="563" formatCode="_ * #,##0.0_ ;_ * \-#,##0.0_ ;_ * &quot;-&quot;??_ ;_ @_ ">
                  <c:v>23.596012791726199</c:v>
                </c:pt>
                <c:pt idx="564" formatCode="_ * #,##0.0_ ;_ * \-#,##0.0_ ;_ * &quot;-&quot;??_ ;_ @_ ">
                  <c:v>23.774157991426822</c:v>
                </c:pt>
                <c:pt idx="565" formatCode="_ * #,##0.0_ ;_ * \-#,##0.0_ ;_ * &quot;-&quot;??_ ;_ @_ ">
                  <c:v>23.560808328230252</c:v>
                </c:pt>
                <c:pt idx="566" formatCode="_ * #,##0.0_ ;_ * \-#,##0.0_ ;_ * &quot;-&quot;??_ ;_ @_ ">
                  <c:v>23.545948152684222</c:v>
                </c:pt>
                <c:pt idx="567" formatCode="_ * #,##0.0_ ;_ * \-#,##0.0_ ;_ * &quot;-&quot;??_ ;_ @_ ">
                  <c:v>23.716663264611825</c:v>
                </c:pt>
                <c:pt idx="568" formatCode="_ * #,##0.0_ ;_ * \-#,##0.0_ ;_ * &quot;-&quot;??_ ;_ @_ ">
                  <c:v>23.635816833367354</c:v>
                </c:pt>
                <c:pt idx="569" formatCode="_ * #,##0.0_ ;_ * \-#,##0.0_ ;_ * &quot;-&quot;??_ ;_ @_ ">
                  <c:v>23.465986255698439</c:v>
                </c:pt>
                <c:pt idx="570" formatCode="_ * #,##0.0_ ;_ * \-#,##0.0_ ;_ * &quot;-&quot;??_ ;_ @_ ">
                  <c:v>23.439980948492892</c:v>
                </c:pt>
                <c:pt idx="571" formatCode="_ * #,##0.0_ ;_ * \-#,##0.0_ ;_ * &quot;-&quot;??_ ;_ @_ ">
                  <c:v>23.390800843709602</c:v>
                </c:pt>
                <c:pt idx="572" formatCode="_ * #,##0.0_ ;_ * \-#,##0.0_ ;_ * &quot;-&quot;??_ ;_ @_ ">
                  <c:v>23.380894060012245</c:v>
                </c:pt>
                <c:pt idx="573" formatCode="_ * #,##0.0_ ;_ * \-#,##0.0_ ;_ * &quot;-&quot;??_ ;_ @_ ">
                  <c:v>23.183642920323873</c:v>
                </c:pt>
                <c:pt idx="574" formatCode="_ * #,##0.0_ ;_ * \-#,##0.0_ ;_ * &quot;-&quot;??_ ;_ @_ ">
                  <c:v>23.360195958358847</c:v>
                </c:pt>
                <c:pt idx="575" formatCode="_ * #,##0.0_ ;_ * \-#,##0.0_ ;_ * &quot;-&quot;??_ ;_ @_ ">
                  <c:v>23.448826291079811</c:v>
                </c:pt>
                <c:pt idx="576" formatCode="_ * #,##0.0_ ;_ * \-#,##0.0_ ;_ * &quot;-&quot;??_ ;_ @_ ">
                  <c:v>23.102619582227668</c:v>
                </c:pt>
                <c:pt idx="577" formatCode="_ * #,##0.0_ ;_ * \-#,##0.0_ ;_ * &quot;-&quot;??_ ;_ @_ ">
                  <c:v>23.561339048785463</c:v>
                </c:pt>
                <c:pt idx="578" formatCode="_ * #,##0.0_ ;_ * \-#,##0.0_ ;_ * &quot;-&quot;??_ ;_ @_ ">
                  <c:v>23.416806150915153</c:v>
                </c:pt>
                <c:pt idx="579" formatCode="_ * #,##0.0_ ;_ * \-#,##0.0_ ;_ * &quot;-&quot;??_ ;_ @_ ">
                  <c:v>23.470232020140166</c:v>
                </c:pt>
                <c:pt idx="580" formatCode="_ * #,##0.0_ ;_ * \-#,##0.0_ ;_ * &quot;-&quot;??_ ;_ @_ ">
                  <c:v>23.521181193440835</c:v>
                </c:pt>
                <c:pt idx="581" formatCode="_ * #,##0.0_ ;_ * \-#,##0.0_ ;_ * &quot;-&quot;??_ ;_ @_ ">
                  <c:v>23.431489419609445</c:v>
                </c:pt>
                <c:pt idx="582" formatCode="_ * #,##0.0_ ;_ * \-#,##0.0_ ;_ * &quot;-&quot;??_ ;_ @_ ">
                  <c:v>23.449180104783288</c:v>
                </c:pt>
                <c:pt idx="583" formatCode="_ * #,##0.0_ ;_ * \-#,##0.0_ ;_ * &quot;-&quot;??_ ;_ @_ ">
                  <c:v>23.209471320677689</c:v>
                </c:pt>
                <c:pt idx="584" formatCode="_ * #,##0.0_ ;_ * \-#,##0.0_ ;_ * &quot;-&quot;??_ ;_ @_ ">
                  <c:v>22.946233925290876</c:v>
                </c:pt>
                <c:pt idx="585" formatCode="_ * #,##0.0_ ;_ * \-#,##0.0_ ;_ * &quot;-&quot;??_ ;_ @_ ">
                  <c:v>22.728461590800844</c:v>
                </c:pt>
                <c:pt idx="586" formatCode="_ * #,##0.0_ ;_ * \-#,##0.0_ ;_ * &quot;-&quot;??_ ;_ @_ ">
                  <c:v>22.813730693338776</c:v>
                </c:pt>
                <c:pt idx="587" formatCode="_ * #,##0.0_ ;_ * \-#,##0.0_ ;_ * &quot;-&quot;??_ ;_ @_ ">
                  <c:v>22.6486766006668</c:v>
                </c:pt>
                <c:pt idx="588" formatCode="_ * #,##0.0_ ;_ * \-#,##0.0_ ;_ * &quot;-&quot;??_ ;_ @_ ">
                  <c:v>22.520596040008162</c:v>
                </c:pt>
                <c:pt idx="589" formatCode="_ * #,##0.0_ ;_ * \-#,##0.0_ ;_ * &quot;-&quot;??_ ;_ @_ ">
                  <c:v>22.452840715792341</c:v>
                </c:pt>
                <c:pt idx="590" formatCode="_ * #,##0.0_ ;_ * \-#,##0.0_ ;_ * &quot;-&quot;??_ ;_ @_ ">
                  <c:v>22.586582295706606</c:v>
                </c:pt>
                <c:pt idx="591" formatCode="_ * #,##0.0_ ;_ * \-#,##0.0_ ;_ * &quot;-&quot;??_ ;_ @_ ">
                  <c:v>22.731822820983872</c:v>
                </c:pt>
                <c:pt idx="592" formatCode="_ * #,##0.0_ ;_ * \-#,##0.0_ ;_ * &quot;-&quot;??_ ;_ @_ ">
                  <c:v>22.50980472205212</c:v>
                </c:pt>
                <c:pt idx="593" formatCode="_ * #,##0.0_ ;_ * \-#,##0.0_ ;_ * &quot;-&quot;??_ ;_ @_ ">
                  <c:v>22.457971014492752</c:v>
                </c:pt>
                <c:pt idx="594" formatCode="_ * #,##0.0_ ;_ * \-#,##0.0_ ;_ * &quot;-&quot;??_ ;_ @_ ">
                  <c:v>22.356957202150095</c:v>
                </c:pt>
                <c:pt idx="595" formatCode="_ * #,##0.0_ ;_ * \-#,##0.0_ ;_ * &quot;-&quot;??_ ;_ @_ ">
                  <c:v>22.39782268490168</c:v>
                </c:pt>
                <c:pt idx="596" formatCode="_ * #,##0.0_ ;_ * \-#,##0.0_ ;_ * &quot;-&quot;??_ ;_ @_ ">
                  <c:v>22.359256991222701</c:v>
                </c:pt>
                <c:pt idx="597" formatCode="_ * #,##0.0_ ;_ * \-#,##0.0_ ;_ * &quot;-&quot;??_ ;_ @_ ">
                  <c:v>22.346873511601011</c:v>
                </c:pt>
                <c:pt idx="598" formatCode="_ * #,##0.0_ ;_ * \-#,##0.0_ ;_ * &quot;-&quot;??_ ;_ @_ ">
                  <c:v>22.269388310539565</c:v>
                </c:pt>
                <c:pt idx="599" formatCode="_ * #,##0.0_ ;_ * \-#,##0.0_ ;_ * &quot;-&quot;??_ ;_ @_ ">
                  <c:v>21.793862693066611</c:v>
                </c:pt>
                <c:pt idx="600" formatCode="_ * #,##0.0_ ;_ * \-#,##0.0_ ;_ * &quot;-&quot;??_ ;_ @_ ">
                  <c:v>22.050908348642579</c:v>
                </c:pt>
                <c:pt idx="601" formatCode="_ * #,##0.0_ ;_ * \-#,##0.0_ ;_ * &quot;-&quot;??_ ;_ @_ ">
                  <c:v>22.100619173981084</c:v>
                </c:pt>
                <c:pt idx="602" formatCode="_ * #,##0.0_ ;_ * \-#,##0.0_ ;_ * &quot;-&quot;??_ ;_ @_ ">
                  <c:v>21.808369054909164</c:v>
                </c:pt>
                <c:pt idx="603" formatCode="_ * #,##0.0_ ;_ * \-#,##0.0_ ;_ * &quot;-&quot;??_ ;_ @_ ">
                  <c:v>21.91062121521399</c:v>
                </c:pt>
                <c:pt idx="604" formatCode="_ * #,##0.0_ ;_ * \-#,##0.0_ ;_ * &quot;-&quot;??_ ;_ @_ ">
                  <c:v>21.7335374566238</c:v>
                </c:pt>
                <c:pt idx="605" formatCode="_ * #,##0.0_ ;_ * \-#,##0.0_ ;_ * &quot;-&quot;??_ ;_ @_ ">
                  <c:v>21.671089337960129</c:v>
                </c:pt>
                <c:pt idx="606" formatCode="_ * #,##0.0_ ;_ * \-#,##0.0_ ;_ * &quot;-&quot;??_ ;_ @_ ">
                  <c:v>21.770687895488877</c:v>
                </c:pt>
                <c:pt idx="607" formatCode="_ * #,##0.0_ ;_ * \-#,##0.0_ ;_ * &quot;-&quot;??_ ;_ @_ ">
                  <c:v>21.546546914336261</c:v>
                </c:pt>
                <c:pt idx="608" formatCode="_ * #,##0.0_ ;_ * \-#,##0.0_ ;_ * &quot;-&quot;??_ ;_ @_ ">
                  <c:v>21.659236578893648</c:v>
                </c:pt>
                <c:pt idx="609" formatCode="_ * #,##0.0_ ;_ * \-#,##0.0_ ;_ * &quot;-&quot;??_ ;_ @_ ">
                  <c:v>21.855603184323332</c:v>
                </c:pt>
                <c:pt idx="610" formatCode="_ * #,##0.0_ ;_ * \-#,##0.0_ ;_ * &quot;-&quot;??_ ;_ @_ ">
                  <c:v>21.814737701571747</c:v>
                </c:pt>
                <c:pt idx="611" formatCode="_ * #,##0.0_ ;_ * \-#,##0.0_ ;_ * &quot;-&quot;??_ ;_ @_ ">
                  <c:v>21.486575491596923</c:v>
                </c:pt>
                <c:pt idx="612" formatCode="_ * #,##0.0_ ;_ * \-#,##0.0_ ;_ * &quot;-&quot;??_ ;_ @_ ">
                  <c:v>21.08517384500238</c:v>
                </c:pt>
                <c:pt idx="613" formatCode="_ * #,##0.0_ ;_ * \-#,##0.0_ ;_ * &quot;-&quot;??_ ;_ @_ ">
                  <c:v>21.057753282982919</c:v>
                </c:pt>
                <c:pt idx="614" formatCode="_ * #,##0.0_ ;_ * \-#,##0.0_ ;_ * &quot;-&quot;??_ ;_ @_ ">
                  <c:v>21.018833775600463</c:v>
                </c:pt>
                <c:pt idx="615" formatCode="_ * #,##0.0_ ;_ * \-#,##0.0_ ;_ * &quot;-&quot;??_ ;_ @_ ">
                  <c:v>21.242974756753078</c:v>
                </c:pt>
                <c:pt idx="616" formatCode="_ * #,##0.0_ ;_ * \-#,##0.0_ ;_ * &quot;-&quot;??_ ;_ @_ ">
                  <c:v>21.176988501054637</c:v>
                </c:pt>
                <c:pt idx="617" formatCode="_ * #,##0.0_ ;_ * \-#,##0.0_ ;_ * &quot;-&quot;??_ ;_ @_ ">
                  <c:v>20.895529699938766</c:v>
                </c:pt>
                <c:pt idx="618" formatCode="_ * #,##0.0_ ;_ * \-#,##0.0_ ;_ * &quot;-&quot;??_ ;_ @_ ">
                  <c:v>20.780540246308774</c:v>
                </c:pt>
                <c:pt idx="619" formatCode="_ * #,##0.0_ ;_ * \-#,##0.0_ ;_ * &quot;-&quot;??_ ;_ @_ ">
                  <c:v>20.679172620262637</c:v>
                </c:pt>
                <c:pt idx="620" formatCode="_ * #,##0.0_ ;_ * \-#,##0.0_ ;_ * &quot;-&quot;??_ ;_ @_ ">
                  <c:v>20.669973463972241</c:v>
                </c:pt>
                <c:pt idx="621" formatCode="_ * #,##0.0_ ;_ * \-#,##0.0_ ;_ * &quot;-&quot;??_ ;_ @_ ">
                  <c:v>20.604164115125538</c:v>
                </c:pt>
                <c:pt idx="622" formatCode="_ * #,##0.0_ ;_ * \-#,##0.0_ ;_ * &quot;-&quot;??_ ;_ @_ ">
                  <c:v>20.711546574130775</c:v>
                </c:pt>
                <c:pt idx="623" formatCode="_ * #,##0.0_ ;_ * \-#,##0.0_ ;_ * &quot;-&quot;??_ ;_ @_ ">
                  <c:v>20.657236170647074</c:v>
                </c:pt>
                <c:pt idx="624" formatCode="_ * #,##0.0_ ;_ * \-#,##0.0_ ;_ * &quot;-&quot;??_ ;_ @_ ">
                  <c:v>20.648567734911886</c:v>
                </c:pt>
                <c:pt idx="625" formatCode="_ * #,##0.0_ ;_ * \-#,##0.0_ ;_ * &quot;-&quot;??_ ;_ @_ ">
                  <c:v>20.528447982581479</c:v>
                </c:pt>
                <c:pt idx="626" formatCode="_ * #,##0.0_ ;_ * \-#,##0.0_ ;_ * &quot;-&quot;??_ ;_ @_ ">
                  <c:v>20.540831462203169</c:v>
                </c:pt>
                <c:pt idx="627" formatCode="_ * #,##0.0_ ;_ * \-#,##0.0_ ;_ * &quot;-&quot;??_ ;_ @_ ">
                  <c:v>20.417173572837992</c:v>
                </c:pt>
                <c:pt idx="628" formatCode="_ * #,##0.0_ ;_ * \-#,##0.0_ ;_ * &quot;-&quot;??_ ;_ @_ ">
                  <c:v>20.367639654351226</c:v>
                </c:pt>
                <c:pt idx="629" formatCode="_ * #,##0.0_ ;_ * \-#,##0.0_ ;_ * &quot;-&quot;??_ ;_ @_ ">
                  <c:v>20.126515615431721</c:v>
                </c:pt>
                <c:pt idx="630" formatCode="_ * #,##0.0_ ;_ * \-#,##0.0_ ;_ * &quot;-&quot;??_ ;_ @_ ">
                  <c:v>19.813390487854662</c:v>
                </c:pt>
                <c:pt idx="631" formatCode="_ * #,##0.0_ ;_ * \-#,##0.0_ ;_ * &quot;-&quot;??_ ;_ @_ ">
                  <c:v>19.84364155950194</c:v>
                </c:pt>
                <c:pt idx="632" formatCode="_ * #,##0.0_ ;_ * \-#,##0.0_ ;_ * &quot;-&quot;??_ ;_ @_ ">
                  <c:v>19.632060964822752</c:v>
                </c:pt>
                <c:pt idx="633" formatCode="_ * #,##0.0_ ;_ * \-#,##0.0_ ;_ * &quot;-&quot;??_ ;_ @_ ">
                  <c:v>19.570674287269512</c:v>
                </c:pt>
                <c:pt idx="634" formatCode="_ * #,##0.0_ ;_ * \-#,##0.0_ ;_ * &quot;-&quot;??_ ;_ @_ ">
                  <c:v>19.635068381302311</c:v>
                </c:pt>
                <c:pt idx="635" formatCode="_ * #,##0.0_ ;_ * \-#,##0.0_ ;_ * &quot;-&quot;??_ ;_ @_ ">
                  <c:v>19.734490031979316</c:v>
                </c:pt>
                <c:pt idx="636" formatCode="_ * #,##0.0_ ;_ * \-#,##0.0_ ;_ * &quot;-&quot;??_ ;_ @_ ">
                  <c:v>19.770932843437436</c:v>
                </c:pt>
                <c:pt idx="637" formatCode="_ * #,##0.0_ ;_ * \-#,##0.0_ ;_ * &quot;-&quot;??_ ;_ @_ ">
                  <c:v>19.628345920936244</c:v>
                </c:pt>
                <c:pt idx="638" formatCode="_ * #,##0.0_ ;_ * \-#,##0.0_ ;_ * &quot;-&quot;??_ ;_ @_ ">
                  <c:v>19.564836361162143</c:v>
                </c:pt>
                <c:pt idx="639" formatCode="_ * #,##0.0_ ;_ * \-#,##0.0_ ;_ * &quot;-&quot;??_ ;_ @_ ">
                  <c:v>19.448431652718238</c:v>
                </c:pt>
                <c:pt idx="640" formatCode="_ * #,##0.0_ ;_ * \-#,##0.0_ ;_ * &quot;-&quot;??_ ;_ @_ ">
                  <c:v>19.457630809008645</c:v>
                </c:pt>
                <c:pt idx="641" formatCode="_ * #,##0.0_ ;_ * \-#,##0.0_ ;_ * &quot;-&quot;??_ ;_ @_ ">
                  <c:v>19.461699666598623</c:v>
                </c:pt>
                <c:pt idx="642" formatCode="_ * #,##0.0_ ;_ * \-#,##0.0_ ;_ * &quot;-&quot;??_ ;_ @_ ">
                  <c:v>19.480982513438118</c:v>
                </c:pt>
                <c:pt idx="643" formatCode="_ * #,##0.0_ ;_ * \-#,##0.0_ ;_ * &quot;-&quot;??_ ;_ @_ ">
                  <c:v>19.497965571205008</c:v>
                </c:pt>
                <c:pt idx="644" formatCode="_ * #,##0.0_ ;_ * \-#,##0.0_ ;_ * &quot;-&quot;??_ ;_ @_ ">
                  <c:v>19.365639246104649</c:v>
                </c:pt>
                <c:pt idx="645" formatCode="_ * #,##0.0_ ;_ * \-#,##0.0_ ;_ * &quot;-&quot;??_ ;_ @_ ">
                  <c:v>19.403851126080149</c:v>
                </c:pt>
                <c:pt idx="646" formatCode="_ * #,##0.0_ ;_ * \-#,##0.0_ ;_ * &quot;-&quot;??_ ;_ @_ ">
                  <c:v>19.32565829761176</c:v>
                </c:pt>
                <c:pt idx="647" formatCode="_ * #,##0.0_ ;_ * \-#,##0.0_ ;_ * &quot;-&quot;??_ ;_ @_ ">
                  <c:v>19.126814996257739</c:v>
                </c:pt>
                <c:pt idx="648" formatCode="_ * #,##0.0_ ;_ * \-#,##0.0_ ;_ * &quot;-&quot;??_ ;_ @_ ">
                  <c:v>19.025978090766824</c:v>
                </c:pt>
                <c:pt idx="649" formatCode="_ * #,##0.0_ ;_ * \-#,##0.0_ ;_ * &quot;-&quot;??_ ;_ @_ ">
                  <c:v>18.952915560998839</c:v>
                </c:pt>
                <c:pt idx="650" formatCode="_ * #,##0.0_ ;_ * \-#,##0.0_ ;_ * &quot;-&quot;??_ ;_ @_ ">
                  <c:v>18.950438865074506</c:v>
                </c:pt>
                <c:pt idx="651" formatCode="_ * #,##0.0_ ;_ * \-#,##0.0_ ;_ * &quot;-&quot;??_ ;_ @_ ">
                  <c:v>18.996611553378241</c:v>
                </c:pt>
                <c:pt idx="652" formatCode="_ * #,##0.0_ ;_ * \-#,##0.0_ ;_ * &quot;-&quot;??_ ;_ @_ ">
                  <c:v>18.937347758045863</c:v>
                </c:pt>
                <c:pt idx="653" formatCode="_ * #,##0.0_ ;_ * \-#,##0.0_ ;_ * &quot;-&quot;??_ ;_ @_ ">
                  <c:v>18.77300129278084</c:v>
                </c:pt>
                <c:pt idx="654" formatCode="_ * #,##0.0_ ;_ * \-#,##0.0_ ;_ * &quot;-&quot;??_ ;_ @_ ">
                  <c:v>18.740096618357487</c:v>
                </c:pt>
                <c:pt idx="655" formatCode="_ * #,##0.0_ ;_ * \-#,##0.0_ ;_ * &quot;-&quot;??_ ;_ @_ ">
                  <c:v>18.690385793018983</c:v>
                </c:pt>
                <c:pt idx="656" formatCode="_ * #,##0.0_ ;_ * \-#,##0.0_ ;_ * &quot;-&quot;??_ ;_ @_ ">
                  <c:v>18.662788324147787</c:v>
                </c:pt>
                <c:pt idx="657" formatCode="_ * #,##0.0_ ;_ * \-#,##0.0_ ;_ * &quot;-&quot;??_ ;_ @_ ">
                  <c:v>18.660311628223443</c:v>
                </c:pt>
                <c:pt idx="658" formatCode="_ * #,##0.0_ ;_ * \-#,##0.0_ ;_ * &quot;-&quot;??_ ;_ @_ ">
                  <c:v>18.621745934544467</c:v>
                </c:pt>
                <c:pt idx="659" formatCode="_ * #,##0.0_ ;_ * \-#,##0.0_ ;_ * &quot;-&quot;??_ ;_ @_ ">
                  <c:v>18.345771245832484</c:v>
                </c:pt>
                <c:pt idx="660" formatCode="_ * #,##0.0_ ;_ * \-#,##0.0_ ;_ * &quot;-&quot;??_ ;_ @_ ">
                  <c:v>18.354439681567666</c:v>
                </c:pt>
                <c:pt idx="661" formatCode="_ * #,##0.0_ ;_ * \-#,##0.0_ ;_ * &quot;-&quot;??_ ;_ @_ ">
                  <c:v>18.23626590460638</c:v>
                </c:pt>
                <c:pt idx="662" formatCode="_ * #,##0.0_ ;_ * \-#,##0.0_ ;_ * &quot;-&quot;??_ ;_ @_ ">
                  <c:v>18.00381030142206</c:v>
                </c:pt>
                <c:pt idx="663" formatCode="_ * #,##0.0_ ;_ * \-#,##0.0_ ;_ * &quot;-&quot;??_ ;_ @_ ">
                  <c:v>18.289514866979655</c:v>
                </c:pt>
                <c:pt idx="664" formatCode="_ * #,##0.0_ ;_ * \-#,##0.0_ ;_ * &quot;-&quot;??_ ;_ @_ ">
                  <c:v>18.367000068041097</c:v>
                </c:pt>
                <c:pt idx="665" formatCode="_ * #,##0.0_ ;_ * \-#,##0.0_ ;_ * &quot;-&quot;??_ ;_ @_ ">
                  <c:v>18.369830577668914</c:v>
                </c:pt>
                <c:pt idx="666" formatCode="_ * #,##0.0_ ;_ * \-#,##0.0_ ;_ * &quot;-&quot;??_ ;_ @_ ">
                  <c:v>18.38929033136014</c:v>
                </c:pt>
                <c:pt idx="667" formatCode="_ * #,##0.0_ ;_ * \-#,##0.0_ ;_ * &quot;-&quot;??_ ;_ @_ ">
                  <c:v>18.303667415118735</c:v>
                </c:pt>
                <c:pt idx="668" formatCode="_ * #,##0.0_ ;_ * \-#,##0.0_ ;_ * &quot;-&quot;??_ ;_ @_ ">
                  <c:v>17.941185275906648</c:v>
                </c:pt>
                <c:pt idx="669" formatCode="_ * #,##0.0_ ;_ * \-#,##0.0_ ;_ * &quot;-&quot;??_ ;_ @_ ">
                  <c:v>17.814343063210178</c:v>
                </c:pt>
                <c:pt idx="670" formatCode="_ * #,##0.0_ ;_ * \-#,##0.0_ ;_ * &quot;-&quot;??_ ;_ @_ ">
                  <c:v>17.676886439409405</c:v>
                </c:pt>
                <c:pt idx="671" formatCode="_ * #,##0.0_ ;_ * \-#,##0.0_ ;_ * &quot;-&quot;??_ ;_ @_ ">
                  <c:v>17.640266721099543</c:v>
                </c:pt>
                <c:pt idx="672" formatCode="_ * #,##0.0_ ;_ * \-#,##0.0_ ;_ * &quot;-&quot;??_ ;_ @_ ">
                  <c:v>17.52545417432129</c:v>
                </c:pt>
                <c:pt idx="673" formatCode="_ * #,##0.0_ ;_ * \-#,##0.0_ ;_ * &quot;-&quot;??_ ;_ @_ ">
                  <c:v>17.406042049397836</c:v>
                </c:pt>
                <c:pt idx="674" formatCode="_ * #,##0.0_ ;_ * \-#,##0.0_ ;_ * &quot;-&quot;??_ ;_ @_ ">
                  <c:v>17.571096142069809</c:v>
                </c:pt>
                <c:pt idx="675" formatCode="_ * #,##0.0_ ;_ * \-#,##0.0_ ;_ * &quot;-&quot;??_ ;_ @_ ">
                  <c:v>17.62469891814656</c:v>
                </c:pt>
                <c:pt idx="676" formatCode="_ * #,##0.0_ ;_ * \-#,##0.0_ ;_ * &quot;-&quot;??_ ;_ @_ ">
                  <c:v>17.605592978158811</c:v>
                </c:pt>
                <c:pt idx="677" formatCode="_ * #,##0.0_ ;_ * \-#,##0.0_ ;_ * &quot;-&quot;??_ ;_ @_ ">
                  <c:v>17.726243451044432</c:v>
                </c:pt>
                <c:pt idx="678" formatCode="_ * #,##0.0_ ;_ * \-#,##0.0_ ;_ * &quot;-&quot;??_ ;_ @_ ">
                  <c:v>17.546506089678164</c:v>
                </c:pt>
                <c:pt idx="679" formatCode="_ * #,##0.0_ ;_ * \-#,##0.0_ ;_ * &quot;-&quot;??_ ;_ @_ ">
                  <c:v>17.565081309110703</c:v>
                </c:pt>
                <c:pt idx="680" formatCode="_ * #,##0.0_ ;_ * \-#,##0.0_ ;_ * &quot;-&quot;??_ ;_ @_ ">
                  <c:v>17.564727495407226</c:v>
                </c:pt>
                <c:pt idx="681" formatCode="_ * #,##0.0_ ;_ * \-#,##0.0_ ;_ * &quot;-&quot;??_ ;_ @_ ">
                  <c:v>17.587017758726269</c:v>
                </c:pt>
                <c:pt idx="682" formatCode="_ * #,##0.0_ ;_ * \-#,##0.0_ ;_ * &quot;-&quot;??_ ;_ @_ ">
                  <c:v>17.361815336463224</c:v>
                </c:pt>
                <c:pt idx="683" formatCode="_ * #,##0.0_ ;_ * \-#,##0.0_ ;_ * &quot;-&quot;??_ ;_ @_ ">
                  <c:v>17.221174389331157</c:v>
                </c:pt>
                <c:pt idx="684" formatCode="_ * #,##0.0_ ;_ * \-#,##0.0_ ;_ * &quot;-&quot;??_ ;_ @_ ">
                  <c:v>17.238511260801527</c:v>
                </c:pt>
                <c:pt idx="685" formatCode="_ * #,##0.0_ ;_ * \-#,##0.0_ ;_ * &quot;-&quot;??_ ;_ @_ ">
                  <c:v>17.135551473089745</c:v>
                </c:pt>
                <c:pt idx="686" formatCode="_ * #,##0.0_ ;_ * \-#,##0.0_ ;_ * &quot;-&quot;??_ ;_ @_ ">
                  <c:v>17.436116214193373</c:v>
                </c:pt>
                <c:pt idx="687" formatCode="_ * #,##0.0_ ;_ * \-#,##0.0_ ;_ * &quot;-&quot;??_ ;_ @_ ">
                  <c:v>17.395958358848745</c:v>
                </c:pt>
                <c:pt idx="688" formatCode="_ * #,##0.0_ ;_ * \-#,##0.0_ ;_ * &quot;-&quot;??_ ;_ @_ ">
                  <c:v>17.622752942777435</c:v>
                </c:pt>
                <c:pt idx="689" formatCode="_ * #,##0.0_ ;_ * \-#,##0.0_ ;_ * &quot;-&quot;??_ ;_ @_ ">
                  <c:v>17.809035857658028</c:v>
                </c:pt>
                <c:pt idx="690" formatCode="_ * #,##0.0_ ;_ * \-#,##0.0_ ;_ * &quot;-&quot;??_ ;_ @_ ">
                  <c:v>17.604531537048377</c:v>
                </c:pt>
                <c:pt idx="691" formatCode="_ * #,##0.0_ ;_ * \-#,##0.0_ ;_ * &quot;-&quot;??_ ;_ @_ ">
                  <c:v>17.527400149690411</c:v>
                </c:pt>
                <c:pt idx="692" formatCode="_ * #,##0.0_ ;_ * \-#,##0.0_ ;_ * &quot;-&quot;??_ ;_ @_ ">
                  <c:v>17.260270803565351</c:v>
                </c:pt>
                <c:pt idx="693" formatCode="_ * #,##0.0_ ;_ * \-#,##0.0_ ;_ * &quot;-&quot;??_ ;_ @_ ">
                  <c:v>17.271769748928353</c:v>
                </c:pt>
                <c:pt idx="694" formatCode="_ * #,##0.0_ ;_ * \-#,##0.0_ ;_ * &quot;-&quot;??_ ;_ @_ ">
                  <c:v>17.607008232972717</c:v>
                </c:pt>
                <c:pt idx="695" formatCode="_ * #,##0.0_ ;_ * \-#,##0.0_ ;_ * &quot;-&quot;??_ ;_ @_ ">
                  <c:v>17.689623732734571</c:v>
                </c:pt>
                <c:pt idx="696" formatCode="_ * #,##0.0_ ;_ * \-#,##0.0_ ;_ * &quot;-&quot;??_ ;_ @_ ">
                  <c:v>17.549513506157719</c:v>
                </c:pt>
                <c:pt idx="697" formatCode="_ * #,##0.0_ ;_ * \-#,##0.0_ ;_ * &quot;-&quot;??_ ;_ @_ ">
                  <c:v>17.49573382322923</c:v>
                </c:pt>
                <c:pt idx="698" formatCode="_ * #,##0.0_ ;_ * \-#,##0.0_ ;_ * &quot;-&quot;??_ ;_ @_ ">
                  <c:v>17.277607675035721</c:v>
                </c:pt>
                <c:pt idx="699" formatCode="_ * #,##0.0_ ;_ * \-#,##0.0_ ;_ * &quot;-&quot;??_ ;_ @_ ">
                  <c:v>17.107600190515072</c:v>
                </c:pt>
                <c:pt idx="700" formatCode="_ * #,##0.0_ ;_ * \-#,##0.0_ ;_ * &quot;-&quot;??_ ;_ @_ ">
                  <c:v>17.594094032795809</c:v>
                </c:pt>
                <c:pt idx="701" formatCode="_ * #,##0.0_ ;_ * \-#,##0.0_ ;_ * &quot;-&quot;??_ ;_ @_ ">
                  <c:v>18.100401442471252</c:v>
                </c:pt>
                <c:pt idx="702" formatCode="_ * #,##0.0_ ;_ * \-#,##0.0_ ;_ * &quot;-&quot;??_ ;_ @_ ">
                  <c:v>17.90774988092808</c:v>
                </c:pt>
                <c:pt idx="703" formatCode="_ * #,##0.0_ ;_ * \-#,##0.0_ ;_ * &quot;-&quot;??_ ;_ @_ ">
                  <c:v>17.734911886779614</c:v>
                </c:pt>
                <c:pt idx="704" formatCode="_ * #,##0.0_ ;_ * \-#,##0.0_ ;_ * &quot;-&quot;??_ ;_ @_ ">
                  <c:v>17.59144043001973</c:v>
                </c:pt>
                <c:pt idx="705" formatCode="_ * #,##0.0_ ;_ * \-#,##0.0_ ;_ * &quot;-&quot;??_ ;_ @_ ">
                  <c:v>17.360753895352794</c:v>
                </c:pt>
                <c:pt idx="706" formatCode="_ * #,##0.0_ ;_ * \-#,##0.0_ ;_ * &quot;-&quot;??_ ;_ @_ ">
                  <c:v>17.294590732802614</c:v>
                </c:pt>
                <c:pt idx="707" formatCode="_ * #,##0.0_ ;_ * \-#,##0.0_ ;_ * &quot;-&quot;??_ ;_ @_ ">
                  <c:v>17.379506021637066</c:v>
                </c:pt>
                <c:pt idx="708" formatCode="_ * #,##0.0_ ;_ * \-#,##0.0_ ;_ * &quot;-&quot;??_ ;_ @_ ">
                  <c:v>17.592324964278426</c:v>
                </c:pt>
                <c:pt idx="709" formatCode="_ * #,##0.0_ ;_ * \-#,##0.0_ ;_ * &quot;-&quot;??_ ;_ @_ ">
                  <c:v>17.66361842552902</c:v>
                </c:pt>
                <c:pt idx="710" formatCode="_ * #,##0.0_ ;_ * \-#,##0.0_ ;_ * &quot;-&quot;??_ ;_ @_ ">
                  <c:v>17.777900251752058</c:v>
                </c:pt>
                <c:pt idx="711" formatCode="_ * #,##0.0_ ;_ * \-#,##0.0_ ;_ * &quot;-&quot;??_ ;_ @_ ">
                  <c:v>18.034415186772812</c:v>
                </c:pt>
                <c:pt idx="712" formatCode="_ * #,##0.0_ ;_ * \-#,##0.0_ ;_ * &quot;-&quot;??_ ;_ @_ ">
                  <c:v>18.102878138395589</c:v>
                </c:pt>
                <c:pt idx="713" formatCode="_ * #,##0.0_ ;_ * \-#,##0.0_ ;_ * &quot;-&quot;??_ ;_ @_ ">
                  <c:v>17.980281690140846</c:v>
                </c:pt>
                <c:pt idx="714" formatCode="_ * #,##0.0_ ;_ * \-#,##0.0_ ;_ * &quot;-&quot;??_ ;_ @_ ">
                  <c:v>17.931809212764509</c:v>
                </c:pt>
                <c:pt idx="715" formatCode="_ * #,##0.0_ ;_ * \-#,##0.0_ ;_ * &quot;-&quot;??_ ;_ @_ ">
                  <c:v>18.030523236034565</c:v>
                </c:pt>
                <c:pt idx="716" formatCode="_ * #,##0.0_ ;_ * \-#,##0.0_ ;_ * &quot;-&quot;??_ ;_ @_ ">
                  <c:v>17.991249914948629</c:v>
                </c:pt>
                <c:pt idx="717" formatCode="_ * #,##0.0_ ;_ * \-#,##0.0_ ;_ * &quot;-&quot;??_ ;_ @_ ">
                  <c:v>17.790460638225486</c:v>
                </c:pt>
                <c:pt idx="718" formatCode="_ * #,##0.0_ ;_ * \-#,##0.0_ ;_ * &quot;-&quot;??_ ;_ @_ ">
                  <c:v>17.73066612233789</c:v>
                </c:pt>
                <c:pt idx="719" formatCode="_ * #,##0.0_ ;_ * \-#,##0.0_ ;_ * &quot;-&quot;??_ ;_ @_ ">
                  <c:v>17.51625501803089</c:v>
                </c:pt>
                <c:pt idx="720" formatCode="_ * #,##0.0_ ;_ * \-#,##0.0_ ;_ * &quot;-&quot;??_ ;_ @_ ">
                  <c:v>17.529523031911275</c:v>
                </c:pt>
                <c:pt idx="721" formatCode="_ * #,##0.0_ ;_ * \-#,##0.0_ ;_ * &quot;-&quot;??_ ;_ @_ ">
                  <c:v>17.659549567939035</c:v>
                </c:pt>
                <c:pt idx="722" formatCode="_ * #,##0.0_ ;_ * \-#,##0.0_ ;_ * &quot;-&quot;??_ ;_ @_ ">
                  <c:v>17.62363747703613</c:v>
                </c:pt>
                <c:pt idx="723" formatCode="_ * #,##0.0_ ;_ * \-#,##0.0_ ;_ * &quot;-&quot;??_ ;_ @_ ">
                  <c:v>17.538368374498198</c:v>
                </c:pt>
                <c:pt idx="724" formatCode="_ * #,##0.0_ ;_ * \-#,##0.0_ ;_ * &quot;-&quot;??_ ;_ @_ ">
                  <c:v>17.493257127304894</c:v>
                </c:pt>
                <c:pt idx="725" formatCode="_ * #,##0.0_ ;_ * \-#,##0.0_ ;_ * &quot;-&quot;??_ ;_ @_ ">
                  <c:v>17.645043206096481</c:v>
                </c:pt>
                <c:pt idx="726" formatCode="_ * #,##0.0_ ;_ * \-#,##0.0_ ;_ * &quot;-&quot;??_ ;_ @_ ">
                  <c:v>17.511832346737428</c:v>
                </c:pt>
                <c:pt idx="727" formatCode="_ * #,##0.0_ ;_ * \-#,##0.0_ ;_ * &quot;-&quot;??_ ;_ @_ ">
                  <c:v>17.788868476559841</c:v>
                </c:pt>
                <c:pt idx="728" formatCode="_ * #,##0.0_ ;_ * \-#,##0.0_ ;_ * &quot;-&quot;??_ ;_ @_ ">
                  <c:v>17.683785806627203</c:v>
                </c:pt>
                <c:pt idx="729" formatCode="_ * #,##0.0_ ;_ * \-#,##0.0_ ;_ * &quot;-&quot;??_ ;_ @_ ">
                  <c:v>17.668748724229435</c:v>
                </c:pt>
                <c:pt idx="730" formatCode="_ * #,##0.0_ ;_ * \-#,##0.0_ ;_ * &quot;-&quot;??_ ;_ @_ ">
                  <c:v>17.654949989793835</c:v>
                </c:pt>
                <c:pt idx="731" formatCode="_ * #,##0.0_ ;_ * \-#,##0.0_ ;_ * &quot;-&quot;??_ ;_ @_ ">
                  <c:v>17.63283663332653</c:v>
                </c:pt>
                <c:pt idx="732" formatCode="_ * #,##0.0_ ;_ * \-#,##0.0_ ;_ * &quot;-&quot;??_ ;_ @_ ">
                  <c:v>17.748710621215213</c:v>
                </c:pt>
                <c:pt idx="733" formatCode="_ * #,##0.0_ ;_ * \-#,##0.0_ ;_ * &quot;-&quot;??_ ;_ @_ ">
                  <c:v>17.7780771586038</c:v>
                </c:pt>
                <c:pt idx="734" formatCode="_ * #,##0.0_ ;_ * \-#,##0.0_ ;_ * &quot;-&quot;??_ ;_ @_ ">
                  <c:v>17.882982921684697</c:v>
                </c:pt>
                <c:pt idx="735" formatCode="_ * #,##0.0_ ;_ * \-#,##0.0_ ;_ * &quot;-&quot;??_ ;_ @_ ">
                  <c:v>17.771708511941213</c:v>
                </c:pt>
                <c:pt idx="736" formatCode="_ * #,##0.0_ ;_ * \-#,##0.0_ ;_ * &quot;-&quot;??_ ;_ @_ ">
                  <c:v>17.802490304143703</c:v>
                </c:pt>
                <c:pt idx="737" formatCode="_ * #,##0.0_ ;_ * \-#,##0.0_ ;_ * &quot;-&quot;??_ ;_ @_ ">
                  <c:v>17.887405592978158</c:v>
                </c:pt>
                <c:pt idx="738" formatCode="_ * #,##0.0_ ;_ * \-#,##0.0_ ;_ * &quot;-&quot;??_ ;_ @_ ">
                  <c:v>17.89288970538205</c:v>
                </c:pt>
                <c:pt idx="739" formatCode="_ * #,##0.0_ ;_ * \-#,##0.0_ ;_ * &quot;-&quot;??_ ;_ @_ ">
                  <c:v>17.713152344015786</c:v>
                </c:pt>
                <c:pt idx="740" formatCode="_ * #,##0.0_ ;_ * \-#,##0.0_ ;_ * &quot;-&quot;??_ ;_ @_ ">
                  <c:v>17.642920323875622</c:v>
                </c:pt>
                <c:pt idx="741" formatCode="_ * #,##0.0_ ;_ * \-#,##0.0_ ;_ * &quot;-&quot;??_ ;_ @_ ">
                  <c:v>17.75578689528475</c:v>
                </c:pt>
                <c:pt idx="742" formatCode="_ * #,##0.0_ ;_ * \-#,##0.0_ ;_ * &quot;-&quot;??_ ;_ @_ ">
                  <c:v>17.76746274749949</c:v>
                </c:pt>
                <c:pt idx="743" formatCode="_ * #,##0.0_ ;_ * \-#,##0.0_ ;_ * &quot;-&quot;??_ ;_ @_ ">
                  <c:v>17.843532693747022</c:v>
                </c:pt>
                <c:pt idx="744" formatCode="_ * #,##0.0_ ;_ * \-#,##0.0_ ;_ * &quot;-&quot;??_ ;_ @_ ">
                  <c:v>17.919425733142816</c:v>
                </c:pt>
                <c:pt idx="745" formatCode="_ * #,##0.0_ ;_ * \-#,##0.0_ ;_ * &quot;-&quot;??_ ;_ @_ ">
                  <c:v>17.866530584473022</c:v>
                </c:pt>
                <c:pt idx="746" formatCode="_ * #,##0.0_ ;_ * \-#,##0.0_ ;_ * &quot;-&quot;??_ ;_ @_ ">
                  <c:v>18.013893991971152</c:v>
                </c:pt>
                <c:pt idx="747" formatCode="_ * #,##0.0_ ;_ * \-#,##0.0_ ;_ * &quot;-&quot;??_ ;_ @_ ">
                  <c:v>17.957283799414849</c:v>
                </c:pt>
                <c:pt idx="748" formatCode="_ * #,##0.0_ ;_ * \-#,##0.0_ ;_ * &quot;-&quot;??_ ;_ @_ ">
                  <c:v>17.970197999591754</c:v>
                </c:pt>
                <c:pt idx="749" formatCode="_ * #,##0.0_ ;_ * \-#,##0.0_ ;_ * &quot;-&quot;??_ ;_ @_ ">
                  <c:v>17.926502007212356</c:v>
                </c:pt>
                <c:pt idx="750" formatCode="_ * #,##0.0_ ;_ * \-#,##0.0_ ;_ * &quot;-&quot;??_ ;_ @_ ">
                  <c:v>17.819119548207116</c:v>
                </c:pt>
                <c:pt idx="751" formatCode="_ * #,##0.0_ ;_ * \-#,##0.0_ ;_ * &quot;-&quot;??_ ;_ @_ ">
                  <c:v>17.910403483704158</c:v>
                </c:pt>
                <c:pt idx="752" formatCode="_ * #,##0.0_ ;_ * \-#,##0.0_ ;_ * &quot;-&quot;??_ ;_ @_ ">
                  <c:v>17.821242430427979</c:v>
                </c:pt>
                <c:pt idx="753" formatCode="_ * #,##0.0_ ;_ * \-#,##0.0_ ;_ * &quot;-&quot;??_ ;_ @_ ">
                  <c:v>17.560658637817241</c:v>
                </c:pt>
                <c:pt idx="754" formatCode="_ * #,##0.0_ ;_ * \-#,##0.0_ ;_ * &quot;-&quot;??_ ;_ @_ ">
                  <c:v>17.773300673606858</c:v>
                </c:pt>
                <c:pt idx="755" formatCode="_ * #,##0.0_ ;_ * \-#,##0.0_ ;_ * &quot;-&quot;??_ ;_ @_ ">
                  <c:v>17.553582363747704</c:v>
                </c:pt>
                <c:pt idx="756" formatCode="_ * #,##0.0_ ;_ * \-#,##0.0_ ;_ * &quot;-&quot;??_ ;_ @_ ">
                  <c:v>17.840348370415732</c:v>
                </c:pt>
                <c:pt idx="757" formatCode="_ * #,##0.0_ ;_ * \-#,##0.0_ ;_ * &quot;-&quot;??_ ;_ @_ ">
                  <c:v>17.990365380689937</c:v>
                </c:pt>
                <c:pt idx="758" formatCode="_ * #,##0.0_ ;_ * \-#,##0.0_ ;_ * &quot;-&quot;??_ ;_ @_ ">
                  <c:v>18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2883944"/>
        <c:axId val="752879632"/>
      </c:lineChart>
      <c:dateAx>
        <c:axId val="752883944"/>
        <c:scaling>
          <c:orientation val="minMax"/>
        </c:scaling>
        <c:delete val="0"/>
        <c:axPos val="b"/>
        <c:numFmt formatCode="dd\.mm\.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79632"/>
        <c:crosses val="autoZero"/>
        <c:auto val="0"/>
        <c:lblOffset val="100"/>
        <c:baseTimeUnit val="days"/>
        <c:majorUnit val="3"/>
        <c:majorTimeUnit val="months"/>
      </c:dateAx>
      <c:valAx>
        <c:axId val="75287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83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711818431230251"/>
          <c:y val="7.8414515090409129E-3"/>
          <c:w val="0.29213779277900076"/>
          <c:h val="5.4740403705527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103313847529368E-2"/>
          <c:y val="0.15679508148297486"/>
          <c:w val="0.94476701302336485"/>
          <c:h val="0.78101370464027631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Rentenetto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0.00%</c:formatCode>
                <c:ptCount val="5"/>
                <c:pt idx="0">
                  <c:v>1.644860058152647E-2</c:v>
                </c:pt>
                <c:pt idx="1">
                  <c:v>1.6625880147933307E-2</c:v>
                </c:pt>
                <c:pt idx="2">
                  <c:v>1.6504475765107385E-2</c:v>
                </c:pt>
                <c:pt idx="3">
                  <c:v>1.694323902652722E-2</c:v>
                </c:pt>
                <c:pt idx="4">
                  <c:v>1.5900000000000001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Rentenetto inkl kredittforetak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C$2:$C$6</c:f>
              <c:numCache>
                <c:formatCode>0.00%</c:formatCode>
                <c:ptCount val="5"/>
                <c:pt idx="0">
                  <c:v>1.4783558024479164E-2</c:v>
                </c:pt>
                <c:pt idx="1">
                  <c:v>1.4419647040607778E-2</c:v>
                </c:pt>
                <c:pt idx="2">
                  <c:v>1.4229529028227645E-2</c:v>
                </c:pt>
                <c:pt idx="3">
                  <c:v>1.4687963687837436E-2</c:v>
                </c:pt>
                <c:pt idx="4">
                  <c:v>1.38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2979088"/>
        <c:axId val="222976344"/>
      </c:lineChart>
      <c:catAx>
        <c:axId val="22297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22976344"/>
        <c:crosses val="autoZero"/>
        <c:auto val="1"/>
        <c:lblAlgn val="ctr"/>
        <c:lblOffset val="100"/>
        <c:noMultiLvlLbl val="0"/>
      </c:catAx>
      <c:valAx>
        <c:axId val="222976344"/>
        <c:scaling>
          <c:orientation val="minMax"/>
          <c:min val="1.2000000000000002E-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out"/>
        <c:minorTickMark val="none"/>
        <c:tickLblPos val="nextTo"/>
        <c:crossAx val="222979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450257123231842"/>
          <c:y val="2.0272522925413757E-2"/>
          <c:w val="0.54348889894770491"/>
          <c:h val="5.63074684567706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97116405432042E-2"/>
          <c:y val="0.13601961515627367"/>
          <c:w val="0.94521537922430476"/>
          <c:h val="0.73467404437290562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Gj.sn.  3 mnd NIBOR – innskuddsavk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1. kv. 17</c:v>
                </c:pt>
                <c:pt idx="1">
                  <c:v>2. kv. 17</c:v>
                </c:pt>
                <c:pt idx="2">
                  <c:v>3. kv. 17</c:v>
                </c:pt>
                <c:pt idx="3">
                  <c:v>4. kv. 17</c:v>
                </c:pt>
                <c:pt idx="4">
                  <c:v>1. kv. 18</c:v>
                </c:pt>
                <c:pt idx="5">
                  <c:v>2. kv. 18</c:v>
                </c:pt>
                <c:pt idx="6">
                  <c:v>3. kv. 18</c:v>
                </c:pt>
                <c:pt idx="7">
                  <c:v>4. kv. 18</c:v>
                </c:pt>
                <c:pt idx="8">
                  <c:v>1. kv. 19</c:v>
                </c:pt>
              </c:strCache>
            </c:strRef>
          </c:cat>
          <c:val>
            <c:numRef>
              <c:f>'Ark1'!$B$2:$B$10</c:f>
              <c:numCache>
                <c:formatCode>0.00%</c:formatCode>
                <c:ptCount val="9"/>
                <c:pt idx="0">
                  <c:v>3.0000000000000009E-3</c:v>
                </c:pt>
                <c:pt idx="1">
                  <c:v>2.0999999999999994E-3</c:v>
                </c:pt>
                <c:pt idx="2">
                  <c:v>1.1999999999999997E-3</c:v>
                </c:pt>
                <c:pt idx="3">
                  <c:v>1.3000000000000008E-3</c:v>
                </c:pt>
                <c:pt idx="4">
                  <c:v>2.4999999999999996E-3</c:v>
                </c:pt>
                <c:pt idx="5">
                  <c:v>3.7999999999999996E-3</c:v>
                </c:pt>
                <c:pt idx="6">
                  <c:v>3.8000000000000004E-3</c:v>
                </c:pt>
                <c:pt idx="7">
                  <c:v>3.6000000000000008E-3</c:v>
                </c:pt>
                <c:pt idx="8">
                  <c:v>2.5999999999999999E-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Gj.sn.  3 mnd NIBOR – innskuddsavk</c:v>
                </c:pt>
              </c:strCache>
            </c:strRef>
          </c:tx>
          <c:spPr>
            <a:ln w="57150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3.6960606297521244E-2"/>
                  <c:y val="-7.673283279090000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1. kv. 17</c:v>
                </c:pt>
                <c:pt idx="1">
                  <c:v>2. kv. 17</c:v>
                </c:pt>
                <c:pt idx="2">
                  <c:v>3. kv. 17</c:v>
                </c:pt>
                <c:pt idx="3">
                  <c:v>4. kv. 17</c:v>
                </c:pt>
                <c:pt idx="4">
                  <c:v>1. kv. 18</c:v>
                </c:pt>
                <c:pt idx="5">
                  <c:v>2. kv. 18</c:v>
                </c:pt>
                <c:pt idx="6">
                  <c:v>3. kv. 18</c:v>
                </c:pt>
                <c:pt idx="7">
                  <c:v>4. kv. 18</c:v>
                </c:pt>
                <c:pt idx="8">
                  <c:v>1. kv. 19</c:v>
                </c:pt>
              </c:strCache>
            </c:strRef>
          </c:cat>
          <c:val>
            <c:numRef>
              <c:f>'Ark1'!$C$2:$C$10</c:f>
              <c:numCache>
                <c:formatCode>0.00%</c:formatCode>
                <c:ptCount val="9"/>
                <c:pt idx="0">
                  <c:v>2.1000000000000012E-3</c:v>
                </c:pt>
                <c:pt idx="1">
                  <c:v>1.1000000000000003E-3</c:v>
                </c:pt>
                <c:pt idx="2">
                  <c:v>3.9999999999999931E-4</c:v>
                </c:pt>
                <c:pt idx="3">
                  <c:v>6.0000000000000071E-4</c:v>
                </c:pt>
                <c:pt idx="4">
                  <c:v>2E-3</c:v>
                </c:pt>
                <c:pt idx="5">
                  <c:v>2.7999999999999987E-3</c:v>
                </c:pt>
                <c:pt idx="6">
                  <c:v>3.0000000000000001E-3</c:v>
                </c:pt>
                <c:pt idx="7">
                  <c:v>3.8000000000000013E-3</c:v>
                </c:pt>
                <c:pt idx="8">
                  <c:v>4.1999999999999997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3759216"/>
        <c:axId val="223766272"/>
      </c:lineChart>
      <c:catAx>
        <c:axId val="223759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23766272"/>
        <c:crosses val="autoZero"/>
        <c:auto val="1"/>
        <c:lblAlgn val="ctr"/>
        <c:lblOffset val="100"/>
        <c:noMultiLvlLbl val="0"/>
      </c:catAx>
      <c:valAx>
        <c:axId val="2237662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23759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220887787090503E-2"/>
          <c:y val="3.328775013695099E-2"/>
          <c:w val="0.89999998668110248"/>
          <c:h val="5.23418618889569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97116405432042E-2"/>
          <c:y val="0.13601961515627367"/>
          <c:w val="0.94521537922430476"/>
          <c:h val="0.73467404437290562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Utlånsavkastning – gj.sn. 3 mnd NIBOR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1. kv. 17</c:v>
                </c:pt>
                <c:pt idx="1">
                  <c:v>2. kv. 17</c:v>
                </c:pt>
                <c:pt idx="2">
                  <c:v>3. kv. 17</c:v>
                </c:pt>
                <c:pt idx="3">
                  <c:v>4. kv. 17</c:v>
                </c:pt>
                <c:pt idx="4">
                  <c:v>1. kv. 18</c:v>
                </c:pt>
                <c:pt idx="5">
                  <c:v>2. kv. 18</c:v>
                </c:pt>
                <c:pt idx="6">
                  <c:v>3. kv. 18</c:v>
                </c:pt>
                <c:pt idx="7">
                  <c:v>4. kv. 18</c:v>
                </c:pt>
                <c:pt idx="8">
                  <c:v>1. kv. 19</c:v>
                </c:pt>
              </c:strCache>
            </c:strRef>
          </c:cat>
          <c:val>
            <c:numRef>
              <c:f>'Ark1'!$B$2:$B$10</c:f>
              <c:numCache>
                <c:formatCode>0.00%</c:formatCode>
                <c:ptCount val="9"/>
                <c:pt idx="0">
                  <c:v>1.89E-2</c:v>
                </c:pt>
                <c:pt idx="1">
                  <c:v>2.01E-2</c:v>
                </c:pt>
                <c:pt idx="2">
                  <c:v>2.07E-2</c:v>
                </c:pt>
                <c:pt idx="3">
                  <c:v>2.0200000000000003E-2</c:v>
                </c:pt>
                <c:pt idx="4">
                  <c:v>1.8599999999999998E-2</c:v>
                </c:pt>
                <c:pt idx="5">
                  <c:v>1.7500000000000002E-2</c:v>
                </c:pt>
                <c:pt idx="6">
                  <c:v>1.7300000000000003E-2</c:v>
                </c:pt>
                <c:pt idx="7">
                  <c:v>1.6799999999999999E-2</c:v>
                </c:pt>
                <c:pt idx="8">
                  <c:v>1.6299999999999999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Utlånsavkastning – gj.sn. 3 mnd NIBOR</c:v>
                </c:pt>
              </c:strCache>
            </c:strRef>
          </c:tx>
          <c:spPr>
            <a:ln w="57150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3.6960606297521244E-2"/>
                  <c:y val="-7.673283279090000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1. kv. 17</c:v>
                </c:pt>
                <c:pt idx="1">
                  <c:v>2. kv. 17</c:v>
                </c:pt>
                <c:pt idx="2">
                  <c:v>3. kv. 17</c:v>
                </c:pt>
                <c:pt idx="3">
                  <c:v>4. kv. 17</c:v>
                </c:pt>
                <c:pt idx="4">
                  <c:v>1. kv. 18</c:v>
                </c:pt>
                <c:pt idx="5">
                  <c:v>2. kv. 18</c:v>
                </c:pt>
                <c:pt idx="6">
                  <c:v>3. kv. 18</c:v>
                </c:pt>
                <c:pt idx="7">
                  <c:v>4. kv. 18</c:v>
                </c:pt>
                <c:pt idx="8">
                  <c:v>1. kv. 19</c:v>
                </c:pt>
              </c:strCache>
            </c:strRef>
          </c:cat>
          <c:val>
            <c:numRef>
              <c:f>'Ark1'!$C$2:$C$10</c:f>
              <c:numCache>
                <c:formatCode>0.00%</c:formatCode>
                <c:ptCount val="9"/>
                <c:pt idx="0">
                  <c:v>2.8299999999999999E-2</c:v>
                </c:pt>
                <c:pt idx="1">
                  <c:v>2.9600000000000001E-2</c:v>
                </c:pt>
                <c:pt idx="2">
                  <c:v>2.87E-2</c:v>
                </c:pt>
                <c:pt idx="3">
                  <c:v>2.81E-2</c:v>
                </c:pt>
                <c:pt idx="4">
                  <c:v>2.7200000000000002E-2</c:v>
                </c:pt>
                <c:pt idx="5">
                  <c:v>2.6999999999999996E-2</c:v>
                </c:pt>
                <c:pt idx="6">
                  <c:v>2.6800000000000004E-2</c:v>
                </c:pt>
                <c:pt idx="7">
                  <c:v>2.7999999999999997E-2</c:v>
                </c:pt>
                <c:pt idx="8">
                  <c:v>2.64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2865912"/>
        <c:axId val="752866696"/>
      </c:lineChart>
      <c:catAx>
        <c:axId val="752865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6696"/>
        <c:crosses val="autoZero"/>
        <c:auto val="1"/>
        <c:lblAlgn val="ctr"/>
        <c:lblOffset val="100"/>
        <c:noMultiLvlLbl val="0"/>
      </c:catAx>
      <c:valAx>
        <c:axId val="7528666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752865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220887787090503E-2"/>
          <c:y val="3.328775013695099E-2"/>
          <c:w val="0.89999998668110248"/>
          <c:h val="5.23418618889569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17502737936208"/>
          <c:y val="0"/>
          <c:w val="0.70964994524127578"/>
          <c:h val="0.78351275430995859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7.4906914887342371E-2"/>
                  <c:y val="-0.1044870440567114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84688743484278"/>
                      <c:h val="0.1223089851561957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3.1460904252683795E-2"/>
                  <c:y val="2.957180492171078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049853324003196"/>
                      <c:h val="9.3224765742406762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12434547871298833"/>
                  <c:y val="9.660122941092189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990912080751309"/>
                      <c:h val="9.3224765742406762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7.0412499994101818E-2"/>
                  <c:y val="3.94290732289477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80466541499377"/>
                      <c:h val="9.3224765742406762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1985224345620269E-2"/>
                  <c:y val="0.1025155903952639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034587412712798"/>
                      <c:h val="9.3224765742406762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Ark1'!$A$2:$A$7</c:f>
              <c:strCache>
                <c:ptCount val="6"/>
                <c:pt idx="0">
                  <c:v>Betalingsformidling m.m.</c:v>
                </c:pt>
                <c:pt idx="1">
                  <c:v>Forsikring/pensjon</c:v>
                </c:pt>
                <c:pt idx="2">
                  <c:v>Sparing/plassering</c:v>
                </c:pt>
                <c:pt idx="3">
                  <c:v>Garantiprovisjon</c:v>
                </c:pt>
                <c:pt idx="4">
                  <c:v>Eiendomsmegler</c:v>
                </c:pt>
                <c:pt idx="5">
                  <c:v>Regnskapshuset</c:v>
                </c:pt>
              </c:strCache>
            </c:strRef>
          </c:cat>
          <c:val>
            <c:numRef>
              <c:f>'Ark1'!$B$2:$B$7</c:f>
              <c:numCache>
                <c:formatCode>0%</c:formatCode>
                <c:ptCount val="6"/>
                <c:pt idx="0">
                  <c:v>0.32023792329206002</c:v>
                </c:pt>
                <c:pt idx="1">
                  <c:v>0.17165403957509948</c:v>
                </c:pt>
                <c:pt idx="2">
                  <c:v>3.8393361257369453E-2</c:v>
                </c:pt>
                <c:pt idx="3">
                  <c:v>1.9629984637403331E-2</c:v>
                </c:pt>
                <c:pt idx="4">
                  <c:v>0.30659541222967746</c:v>
                </c:pt>
                <c:pt idx="5">
                  <c:v>0.143489279008390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241505651425964E-2"/>
          <c:y val="9.4992788093565858E-2"/>
          <c:w val="0.91113251190799815"/>
          <c:h val="0.798334452392661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etto tapkostn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1. kv. 18</c:v>
                </c:pt>
                <c:pt idx="1">
                  <c:v>2. kv. 18</c:v>
                </c:pt>
                <c:pt idx="2">
                  <c:v>3. kv. 18</c:v>
                </c:pt>
                <c:pt idx="3">
                  <c:v>4. kv. 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_ * #,##0_ ;_ * \-#,##0_ ;_ * "-"??_ ;_ @_ </c:formatCode>
                <c:ptCount val="5"/>
                <c:pt idx="0">
                  <c:v>6.8040000000000003</c:v>
                </c:pt>
                <c:pt idx="1">
                  <c:v>11.294</c:v>
                </c:pt>
                <c:pt idx="2">
                  <c:v>-8.0739999999999998</c:v>
                </c:pt>
                <c:pt idx="3">
                  <c:v>-9.3740000000000006</c:v>
                </c:pt>
                <c:pt idx="4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69832"/>
        <c:axId val="752867480"/>
      </c:barChart>
      <c:catAx>
        <c:axId val="752869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7480"/>
        <c:crosses val="autoZero"/>
        <c:auto val="1"/>
        <c:lblAlgn val="ctr"/>
        <c:lblOffset val="100"/>
        <c:noMultiLvlLbl val="0"/>
      </c:catAx>
      <c:valAx>
        <c:axId val="7528674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crossAx val="752869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legendEntry>
      <c:layout>
        <c:manualLayout>
          <c:xMode val="edge"/>
          <c:yMode val="edge"/>
          <c:x val="0.41223160907065987"/>
          <c:y val="3.0674449743179497E-2"/>
          <c:w val="0.21592022607108763"/>
          <c:h val="5.35442590196216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915228937316971E-2"/>
          <c:y val="7.6747366853067614E-2"/>
          <c:w val="0.91015503682693755"/>
          <c:h val="0.826585496539554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01.01.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B$2:$B$4</c:f>
              <c:numCache>
                <c:formatCode>_ * #,##0_ ;_ * \-#,##0_ ;_ * "-"??_ ;_ @_ </c:formatCode>
                <c:ptCount val="3"/>
                <c:pt idx="0">
                  <c:v>34.667000000000002</c:v>
                </c:pt>
                <c:pt idx="1">
                  <c:v>50.399000000000001</c:v>
                </c:pt>
                <c:pt idx="2">
                  <c:v>81.941999999999993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31.12.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C$2:$C$4</c:f>
              <c:numCache>
                <c:formatCode>_ * #,##0_ ;_ * \-#,##0_ ;_ * "-"??_ ;_ @_ </c:formatCode>
                <c:ptCount val="3"/>
                <c:pt idx="0">
                  <c:v>35.262999999999998</c:v>
                </c:pt>
                <c:pt idx="1">
                  <c:v>37.201000000000001</c:v>
                </c:pt>
                <c:pt idx="2">
                  <c:v>91.93500000000000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31.03.2019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D$2:$D$4</c:f>
              <c:numCache>
                <c:formatCode>_ * #,##0_ ;_ * \-#,##0_ ;_ * "-"??_ ;_ @_ </c:formatCode>
                <c:ptCount val="3"/>
                <c:pt idx="0">
                  <c:v>42</c:v>
                </c:pt>
                <c:pt idx="1">
                  <c:v>38</c:v>
                </c:pt>
                <c:pt idx="2">
                  <c:v>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63168"/>
        <c:axId val="752867088"/>
      </c:barChart>
      <c:catAx>
        <c:axId val="75286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7088"/>
        <c:crosses val="autoZero"/>
        <c:auto val="1"/>
        <c:lblAlgn val="ctr"/>
        <c:lblOffset val="100"/>
        <c:noMultiLvlLbl val="0"/>
      </c:catAx>
      <c:valAx>
        <c:axId val="7528670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crossAx val="752863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380637524180461"/>
          <c:y val="1.1151952304540724E-2"/>
          <c:w val="0.42164092746754572"/>
          <c:h val="5.1824822321532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915228937316971E-2"/>
          <c:y val="7.6747366853067614E-2"/>
          <c:w val="0.91015503682693755"/>
          <c:h val="0.826585496539554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EK-avkast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1. kv. 19</c:v>
                </c:pt>
              </c:strCache>
            </c:strRef>
          </c:cat>
          <c:val>
            <c:numRef>
              <c:f>'Ark1'!$B$2:$B$6</c:f>
              <c:numCache>
                <c:formatCode>0.0\ %</c:formatCode>
                <c:ptCount val="5"/>
                <c:pt idx="0">
                  <c:v>7.5999999999999998E-2</c:v>
                </c:pt>
                <c:pt idx="1">
                  <c:v>0.112</c:v>
                </c:pt>
                <c:pt idx="2">
                  <c:v>0.13</c:v>
                </c:pt>
                <c:pt idx="3">
                  <c:v>0.13600000000000001</c:v>
                </c:pt>
                <c:pt idx="4">
                  <c:v>0.159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EK-avkastning juster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1. kv. 19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2" formatCode="0.0\ %">
                  <c:v>0.107</c:v>
                </c:pt>
                <c:pt idx="3" formatCode="0.0\ %">
                  <c:v>9.9000000000000005E-2</c:v>
                </c:pt>
                <c:pt idx="4" formatCode="0.0\ %">
                  <c:v>9.5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863952"/>
        <c:axId val="752862776"/>
      </c:barChart>
      <c:catAx>
        <c:axId val="752863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2862776"/>
        <c:crosses val="autoZero"/>
        <c:auto val="1"/>
        <c:lblAlgn val="ctr"/>
        <c:lblOffset val="100"/>
        <c:noMultiLvlLbl val="0"/>
      </c:catAx>
      <c:valAx>
        <c:axId val="75286277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crossAx val="75286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468</cdr:x>
      <cdr:y>0.12975</cdr:y>
    </cdr:from>
    <cdr:to>
      <cdr:x>0.94184</cdr:x>
      <cdr:y>0.1854</cdr:y>
    </cdr:to>
    <cdr:sp macro="" textlink="">
      <cdr:nvSpPr>
        <cdr:cNvPr id="2" name="TekstSylinder 20"/>
        <cdr:cNvSpPr txBox="1"/>
      </cdr:nvSpPr>
      <cdr:spPr>
        <a:xfrm xmlns:a="http://schemas.openxmlformats.org/drawingml/2006/main">
          <a:off x="6083886" y="645759"/>
          <a:ext cx="620433" cy="27697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15,5 %</a:t>
          </a:r>
          <a:endParaRPr lang="nb-NO" sz="12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DA669-B95B-4310-9FCD-8D5A7219CDCB}" type="datetimeFigureOut">
              <a:rPr lang="nb-NO" smtClean="0"/>
              <a:t>10.05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959FE6-AFC4-4FAE-B50C-918B745FAEA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8293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BCEA9A-E81C-4B81-88AE-F3EAA470C8F3}" type="datetimeFigureOut">
              <a:rPr lang="nb-NO" smtClean="0"/>
              <a:t>10.05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D50294-A917-4C03-B82D-6873A71C923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130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et </a:t>
            </a:r>
            <a:r>
              <a:rPr lang="nb-NO" dirty="0" err="1" smtClean="0"/>
              <a:t>vårbilde</a:t>
            </a:r>
            <a:r>
              <a:rPr lang="nb-NO" dirty="0" smtClean="0"/>
              <a:t>..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78629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Nytt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1363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14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597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Sjekk beløp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1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128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Oppdater – oppdater budsjett – fjern 17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6705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Nytt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09339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18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30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19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5556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91758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0308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3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535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59314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97923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160508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7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7865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8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151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85116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Endre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09459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49826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461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2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 til høyr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1700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Nytt bilde. Geir er lei!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2035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29202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5220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31830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9892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4.png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2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13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8"/>
            <a:ext cx="3700520" cy="1061841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2448163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77735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88">
          <p15:clr>
            <a:srgbClr val="FBAE40"/>
          </p15:clr>
        </p15:guide>
        <p15:guide id="2" pos="1011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14"/>
            <a:ext cx="597459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931" y="2550921"/>
            <a:ext cx="4793711" cy="111607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A62A4-CA44-43B2-A8A9-61BE04E9E269}" type="datetime1">
              <a:rPr lang="nb-NO" smtClean="0">
                <a:solidFill>
                  <a:prstClr val="white"/>
                </a:solidFill>
              </a:rPr>
              <a:t>10.05.2019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45884" y="995527"/>
            <a:ext cx="4794491" cy="510448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63554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7097E-198D-4A4D-AE94-3F5B2D2C2468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81256" y="1660527"/>
            <a:ext cx="479371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6192404" y="1737000"/>
            <a:ext cx="5238341" cy="4356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4782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31483" y="691289"/>
            <a:ext cx="4793711" cy="1116203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6927EA-C8B9-477C-ABFC-B75CBAE09518}" type="datetime1">
              <a:rPr lang="nb-NO" smtClean="0">
                <a:solidFill>
                  <a:prstClr val="white"/>
                </a:solidFill>
              </a:rPr>
              <a:t>10.05.2019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31477" y="2385299"/>
            <a:ext cx="4794491" cy="3738776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3" y="0"/>
            <a:ext cx="5973535" cy="6858000"/>
          </a:xfrm>
          <a:prstGeom prst="rect">
            <a:avLst/>
          </a:prstGeom>
          <a:solidFill>
            <a:schemeClr val="bg2"/>
          </a:solidFill>
        </p:spPr>
        <p:txBody>
          <a:bodyPr lIns="34276" tIns="17137" rIns="34276" bIns="1349415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0445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6D13-6F1A-4BC3-980F-F72524EDC10C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781252" y="1737000"/>
            <a:ext cx="10649493" cy="4356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4144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90" y="748890"/>
            <a:ext cx="10515601" cy="558039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92" y="1681164"/>
            <a:ext cx="5157787" cy="82391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490" indent="0">
              <a:buNone/>
              <a:defRPr sz="1067" b="1"/>
            </a:lvl2pPr>
            <a:lvl3pPr marL="456979" indent="0">
              <a:buNone/>
              <a:defRPr sz="933" b="1"/>
            </a:lvl3pPr>
            <a:lvl4pPr marL="685470" indent="0">
              <a:buNone/>
              <a:defRPr sz="800" b="1"/>
            </a:lvl4pPr>
            <a:lvl5pPr marL="913957" indent="0">
              <a:buNone/>
              <a:defRPr sz="800" b="1"/>
            </a:lvl5pPr>
            <a:lvl6pPr marL="1142446" indent="0">
              <a:buNone/>
              <a:defRPr sz="800" b="1"/>
            </a:lvl6pPr>
            <a:lvl7pPr marL="1370936" indent="0">
              <a:buNone/>
              <a:defRPr sz="800" b="1"/>
            </a:lvl7pPr>
            <a:lvl8pPr marL="1599427" indent="0">
              <a:buNone/>
              <a:defRPr sz="800" b="1"/>
            </a:lvl8pPr>
            <a:lvl9pPr marL="1827917" indent="0">
              <a:buNone/>
              <a:defRPr sz="8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92" y="2505078"/>
            <a:ext cx="51577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1" y="1681164"/>
            <a:ext cx="5183187" cy="82391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490" indent="0">
              <a:buNone/>
              <a:defRPr sz="1067" b="1"/>
            </a:lvl2pPr>
            <a:lvl3pPr marL="456979" indent="0">
              <a:buNone/>
              <a:defRPr sz="933" b="1"/>
            </a:lvl3pPr>
            <a:lvl4pPr marL="685470" indent="0">
              <a:buNone/>
              <a:defRPr sz="800" b="1"/>
            </a:lvl4pPr>
            <a:lvl5pPr marL="913957" indent="0">
              <a:buNone/>
              <a:defRPr sz="800" b="1"/>
            </a:lvl5pPr>
            <a:lvl6pPr marL="1142446" indent="0">
              <a:buNone/>
              <a:defRPr sz="800" b="1"/>
            </a:lvl6pPr>
            <a:lvl7pPr marL="1370936" indent="0">
              <a:buNone/>
              <a:defRPr sz="800" b="1"/>
            </a:lvl7pPr>
            <a:lvl8pPr marL="1599427" indent="0">
              <a:buNone/>
              <a:defRPr sz="800" b="1"/>
            </a:lvl8pPr>
            <a:lvl9pPr marL="1827917" indent="0">
              <a:buNone/>
              <a:defRPr sz="8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1" y="2505078"/>
            <a:ext cx="51831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C29F9-1FFD-4828-93AF-35ED5A213CF1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152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92615" y="1724895"/>
            <a:ext cx="8006773" cy="308890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89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5BF44D-BF6B-4E47-99C8-37CD231E4013}" type="datetime1">
              <a:rPr lang="nb-NO" smtClean="0">
                <a:solidFill>
                  <a:prstClr val="black"/>
                </a:solidFill>
              </a:rPr>
              <a:t>10.05.2019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898553" y="5049635"/>
            <a:ext cx="7103351" cy="64250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39" y="952320"/>
            <a:ext cx="1008031" cy="101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345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9D209-69B4-41E7-8134-860EDA3BA957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1236839" y="1854235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2664508" y="703891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1236839" y="703891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1236839" y="4154923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1236839" y="3004579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1236839" y="5305267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2664508" y="1854235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2664508" y="3004579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2662705" y="4154923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662705" y="5291606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757326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41076" indent="-541076">
              <a:buFont typeface="+mj-lt"/>
              <a:buAutoNum type="arabicPeriod"/>
              <a:defRPr/>
            </a:lvl1pPr>
            <a:lvl2pPr marL="1478835" indent="-364158">
              <a:defRPr/>
            </a:lvl2pPr>
            <a:lvl3pPr marL="1707325" indent="-364158">
              <a:defRPr/>
            </a:lvl3pPr>
            <a:lvl4pPr marL="2104802" indent="-353050" defTabSz="558529">
              <a:defRPr/>
            </a:lvl4pPr>
            <a:lvl5pPr marL="2417388" indent="-353050">
              <a:tabLst>
                <a:tab pos="2729974" algn="l"/>
              </a:tabLst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6B46E-3710-49C8-8A68-BB15DA1C1934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528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569902" y="2331292"/>
            <a:ext cx="9777553" cy="1642160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D15B05-40F6-45FE-8FB0-427A3A176AE6}" type="datetime1">
              <a:rPr lang="nb-NO" smtClean="0">
                <a:solidFill>
                  <a:prstClr val="white"/>
                </a:solidFill>
              </a:rPr>
              <a:t>10.05.2019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2973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569902" y="2331292"/>
            <a:ext cx="9777553" cy="1642160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A0FA9B4-6A80-44B9-A2A1-C1647C08723A}" type="datetime1">
              <a:rPr lang="nb-NO" smtClean="0">
                <a:solidFill>
                  <a:prstClr val="black"/>
                </a:solidFill>
              </a:rPr>
              <a:t>10.05.2019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276684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lide m bilde og ik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448163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accent2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339" y="5681609"/>
            <a:ext cx="3701660" cy="1062168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33693089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0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688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9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700513" y="2331294"/>
            <a:ext cx="8862587" cy="1976015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4B4428-ED7D-42BC-86C6-F1E90AB69507}" type="datetime1">
              <a:rPr lang="nb-NO" smtClean="0">
                <a:solidFill>
                  <a:prstClr val="white"/>
                </a:solidFill>
              </a:rPr>
              <a:t>10.05.2019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32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40">
          <p15:clr>
            <a:srgbClr val="FBAE40"/>
          </p15:clr>
        </p15:guide>
        <p15:guide id="2" pos="1015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16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m ikon og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700513" y="2331294"/>
            <a:ext cx="8862587" cy="1976015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13C73-A5EF-496E-8FDD-4DD09782313F}" type="datetime1">
              <a:rPr lang="nb-NO" smtClean="0">
                <a:solidFill>
                  <a:prstClr val="white"/>
                </a:solidFill>
              </a:rPr>
              <a:t>10.05.2019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  <p:sp>
        <p:nvSpPr>
          <p:cNvPr id="10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1584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011">
          <p15:clr>
            <a:srgbClr val="FBAE40"/>
          </p15:clr>
        </p15:guide>
        <p15:guide id="2" orient="horz" pos="1688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2095603" y="1724616"/>
            <a:ext cx="8004321" cy="3089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1" tIns="22849" rIns="45701" bIns="22849"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  <p:sp>
        <p:nvSpPr>
          <p:cNvPr id="8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2394459" y="952320"/>
            <a:ext cx="1008191" cy="1008125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89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4933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329C703-22F1-4EEB-8A15-742684E40A4A}" type="datetime1">
              <a:rPr lang="nb-NO" smtClean="0">
                <a:solidFill>
                  <a:prstClr val="black"/>
                </a:solidFill>
              </a:rPr>
              <a:t>10.05.2019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41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24">
          <p15:clr>
            <a:srgbClr val="FBAE40"/>
          </p15:clr>
        </p15:guide>
        <p15:guide id="2" pos="1610">
          <p15:clr>
            <a:srgbClr val="FBAE40"/>
          </p15:clr>
        </p15:guide>
        <p15:guide id="3" orient="horz" pos="926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660317" y="2563523"/>
            <a:ext cx="8862587" cy="1976015"/>
          </a:xfrm>
        </p:spPr>
        <p:txBody>
          <a:bodyPr anchor="t" anchorCtr="0">
            <a:noAutofit/>
          </a:bodyPr>
          <a:lstStyle>
            <a:lvl1pPr algn="ctr">
              <a:defRPr sz="100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5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636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7333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BF24D-78E6-49A8-B0D6-07CA8B170B19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Rektangel 4"/>
          <p:cNvSpPr/>
          <p:nvPr userDrawn="1"/>
        </p:nvSpPr>
        <p:spPr>
          <a:xfrm>
            <a:off x="162032" y="3305217"/>
            <a:ext cx="11875056" cy="18038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1" tIns="22849" rIns="45701" bIns="22849"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26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4" y="4187034"/>
            <a:ext cx="10515601" cy="375444"/>
          </a:xfrm>
        </p:spPr>
        <p:txBody>
          <a:bodyPr anchor="b"/>
          <a:lstStyle>
            <a:lvl1pPr>
              <a:defRPr sz="3067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4" y="4589465"/>
            <a:ext cx="10515601" cy="1500187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22849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2pPr>
            <a:lvl3pPr marL="456979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3pPr>
            <a:lvl4pPr marL="68547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395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244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093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59942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791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28DA6-BD6C-4E18-9A9A-9E28D68BE682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9938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F1C22-FC5C-4A62-9A5F-88503C6D3FDB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48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D4CDE-44C8-4FA8-9CD9-B21F2574B578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836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40846" y="6441947"/>
            <a:ext cx="605935" cy="205121"/>
          </a:xfrm>
        </p:spPr>
        <p:txBody>
          <a:bodyPr/>
          <a:lstStyle/>
          <a:p>
            <a:fld id="{5CECDB12-A566-4CB8-A37F-170D2ADA7F86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2" y="6032023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4262460" y="3294280"/>
            <a:ext cx="3708403" cy="37739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12"/>
            <a:endParaRPr lang="nb-NO" sz="1400">
              <a:solidFill>
                <a:prstClr val="white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8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6" y="2009887"/>
            <a:ext cx="5040001" cy="3327375"/>
          </a:xfrm>
        </p:spPr>
        <p:txBody>
          <a:bodyPr>
            <a:normAutofit/>
          </a:bodyPr>
          <a:lstStyle>
            <a:lvl1pPr marL="177792" indent="-177792">
              <a:defRPr sz="1600"/>
            </a:lvl1pPr>
            <a:lvl2pPr marL="355582" indent="-177792">
              <a:defRPr sz="1400"/>
            </a:lvl2pPr>
            <a:lvl3pPr marL="531787" indent="-176205">
              <a:defRPr sz="1200"/>
            </a:lvl3pPr>
            <a:lvl4pPr marL="723865" indent="-192078">
              <a:defRPr sz="1100"/>
            </a:lvl4pPr>
            <a:lvl5pPr marL="900068" indent="-176205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8" y="2009885"/>
            <a:ext cx="5042871" cy="3327291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2" lvl="0" indent="-177792"/>
            <a:r>
              <a:rPr lang="en-US" smtClean="0"/>
              <a:t>Click to edit Master text styles</a:t>
            </a:r>
          </a:p>
          <a:p>
            <a:pPr marL="177792" lvl="1" indent="-177792"/>
            <a:r>
              <a:rPr lang="en-US" smtClean="0"/>
              <a:t>Second level</a:t>
            </a:r>
          </a:p>
          <a:p>
            <a:pPr marL="177792" lvl="2" indent="-177792"/>
            <a:r>
              <a:rPr lang="en-US" smtClean="0"/>
              <a:t>Third level</a:t>
            </a:r>
          </a:p>
          <a:p>
            <a:pPr marL="177792" lvl="3" indent="-177792"/>
            <a:r>
              <a:rPr lang="en-US" smtClean="0"/>
              <a:t>Fourth level</a:t>
            </a:r>
          </a:p>
          <a:p>
            <a:pPr marL="177792" lvl="4" indent="-177792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50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54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31757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224" y="-1314"/>
            <a:ext cx="4079776" cy="6860627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40848" y="6441947"/>
            <a:ext cx="621965" cy="164212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fld id="{1B601E8D-3954-49BF-B323-1BBC34257365}" type="datetime1">
              <a:rPr lang="nb-NO" smtClean="0">
                <a:solidFill>
                  <a:srgbClr val="032A74"/>
                </a:solidFill>
              </a:rPr>
              <a:pPr/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535503" y="6441947"/>
            <a:ext cx="8358445" cy="164148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r>
              <a:rPr lang="nb-NO" smtClean="0">
                <a:solidFill>
                  <a:srgbClr val="032A74"/>
                </a:solidFill>
              </a:rPr>
              <a:t>BV Q4 2017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93420" y="6441947"/>
            <a:ext cx="162437" cy="164148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781252" y="723457"/>
            <a:ext cx="7042941" cy="558101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2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8"/>
            <a:ext cx="3700520" cy="106184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32579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8521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6"/>
          <p:cNvSpPr/>
          <p:nvPr userDrawn="1"/>
        </p:nvSpPr>
        <p:spPr>
          <a:xfrm>
            <a:off x="2" y="-17027"/>
            <a:ext cx="12336692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5735" y="2039662"/>
            <a:ext cx="9500847" cy="1654407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75735" y="3754441"/>
            <a:ext cx="9500847" cy="415499"/>
          </a:xfrm>
        </p:spPr>
        <p:txBody>
          <a:bodyPr wrap="square">
            <a:spAutoFit/>
          </a:bodyPr>
          <a:lstStyle>
            <a:lvl1pPr marL="0" indent="0" algn="l">
              <a:buNone/>
              <a:defRPr sz="2700">
                <a:solidFill>
                  <a:srgbClr val="FFFFFF"/>
                </a:solidFill>
              </a:defRPr>
            </a:lvl1pPr>
            <a:lvl2pPr marL="171364" indent="0" algn="ctr">
              <a:buNone/>
              <a:defRPr sz="800"/>
            </a:lvl2pPr>
            <a:lvl3pPr marL="342726" indent="0" algn="ctr">
              <a:buNone/>
              <a:defRPr sz="700"/>
            </a:lvl3pPr>
            <a:lvl4pPr marL="514090" indent="0" algn="ctr">
              <a:buNone/>
              <a:defRPr sz="700"/>
            </a:lvl4pPr>
            <a:lvl5pPr marL="685454" indent="0" algn="ctr">
              <a:buNone/>
              <a:defRPr sz="700"/>
            </a:lvl5pPr>
            <a:lvl6pPr marL="856815" indent="0" algn="ctr">
              <a:buNone/>
              <a:defRPr sz="700"/>
            </a:lvl6pPr>
            <a:lvl7pPr marL="1028178" indent="0" algn="ctr">
              <a:buNone/>
              <a:defRPr sz="700"/>
            </a:lvl7pPr>
            <a:lvl8pPr marL="1199541" indent="0" algn="ctr">
              <a:buNone/>
              <a:defRPr sz="700"/>
            </a:lvl8pPr>
            <a:lvl9pPr marL="1370904" indent="0" algn="ctr">
              <a:buNone/>
              <a:defRPr sz="700"/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7" name="Picture 6" descr="rgb_SB1_BV_verti_ne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65" y="5373218"/>
            <a:ext cx="4943540" cy="14187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0901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C6588-F90B-4EAB-BB34-961E6F9C2E06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53919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3708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EEB4E-6A2B-464E-8F1A-488049BF1A5E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58281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7C92-DD71-46CF-A2C2-B84584F06886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604157" y="3177794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604157" y="471315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604157" y="394547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604157" y="5480834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280567" y="5485848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5"/>
          <p:cNvSpPr>
            <a:spLocks noGrp="1"/>
          </p:cNvSpPr>
          <p:nvPr>
            <p:ph type="body" sz="quarter" idx="23" hasCustomPrompt="1"/>
          </p:nvPr>
        </p:nvSpPr>
        <p:spPr>
          <a:xfrm>
            <a:off x="604157" y="164243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9" name="Plassholder for tekst 7"/>
          <p:cNvSpPr>
            <a:spLocks noGrp="1"/>
          </p:cNvSpPr>
          <p:nvPr>
            <p:ph type="body" sz="quarter" idx="25"/>
          </p:nvPr>
        </p:nvSpPr>
        <p:spPr>
          <a:xfrm>
            <a:off x="2280567" y="1633580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Plassholder for tekst 7"/>
          <p:cNvSpPr>
            <a:spLocks noGrp="1"/>
          </p:cNvSpPr>
          <p:nvPr>
            <p:ph type="body" sz="quarter" idx="26"/>
          </p:nvPr>
        </p:nvSpPr>
        <p:spPr>
          <a:xfrm>
            <a:off x="2280567" y="3174487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Plassholder for tekst 7"/>
          <p:cNvSpPr>
            <a:spLocks noGrp="1"/>
          </p:cNvSpPr>
          <p:nvPr>
            <p:ph type="body" sz="quarter" idx="27"/>
          </p:nvPr>
        </p:nvSpPr>
        <p:spPr>
          <a:xfrm>
            <a:off x="2280567" y="3944943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Plassholder for tekst 7"/>
          <p:cNvSpPr>
            <a:spLocks noGrp="1"/>
          </p:cNvSpPr>
          <p:nvPr>
            <p:ph type="body" sz="quarter" idx="28"/>
          </p:nvPr>
        </p:nvSpPr>
        <p:spPr>
          <a:xfrm>
            <a:off x="2280567" y="4715396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Plassholder for tittel 1"/>
          <p:cNvSpPr>
            <a:spLocks noGrp="1"/>
          </p:cNvSpPr>
          <p:nvPr>
            <p:ph type="title"/>
          </p:nvPr>
        </p:nvSpPr>
        <p:spPr>
          <a:xfrm>
            <a:off x="575735" y="830152"/>
            <a:ext cx="11040532" cy="3447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24" name="Plassholder f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604157" y="241011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25" name="Plassholder for tekst 7"/>
          <p:cNvSpPr>
            <a:spLocks noGrp="1"/>
          </p:cNvSpPr>
          <p:nvPr>
            <p:ph type="body" sz="quarter" idx="30"/>
          </p:nvPr>
        </p:nvSpPr>
        <p:spPr>
          <a:xfrm>
            <a:off x="2280567" y="2404035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86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5736" y="4143903"/>
            <a:ext cx="10771723" cy="418576"/>
          </a:xfrm>
        </p:spPr>
        <p:txBody>
          <a:bodyPr anchor="b"/>
          <a:lstStyle>
            <a:lvl1pPr>
              <a:defRPr sz="3400">
                <a:solidFill>
                  <a:srgbClr val="1F82B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5736" y="4589467"/>
            <a:ext cx="10771723" cy="150018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17136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342726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51409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4pPr>
            <a:lvl5pPr marL="685454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5pPr>
            <a:lvl6pPr marL="856815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6pPr>
            <a:lvl7pPr marL="1028178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7pPr>
            <a:lvl8pPr marL="1199541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8pPr>
            <a:lvl9pPr marL="1370904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77C04-02AC-40EB-9FD3-21C5F45BAF39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2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61942" indent="-361942">
              <a:buFont typeface="+mj-lt"/>
              <a:buAutoNum type="arabicPeriod"/>
              <a:defRPr sz="2000"/>
            </a:lvl1pPr>
            <a:lvl2pPr marL="680228" indent="-342891">
              <a:defRPr lang="nb-NO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463" indent="-273111">
              <a:defRPr lang="nb-NO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8563" indent="-264780" defTabSz="418888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12995" indent="-264780">
              <a:tabLst>
                <a:tab pos="2047427" algn="l"/>
              </a:tabLst>
              <a:defRPr lang="nb-NO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73022-F2F4-42A3-B2CE-362DF15D0B72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578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7F5A9-955F-478D-8930-BA9E8AB9AC11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7103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A8663D-33EB-4880-BF31-F6B311C6A57C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441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904E4-954C-4E31-8113-5FAB80CD204E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575735" y="3026179"/>
            <a:ext cx="11040532" cy="29951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11118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20704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9672D-D394-4729-9E7A-6C616A2880F1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2009884"/>
            <a:ext cx="5425019" cy="401150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1253" y="2009885"/>
            <a:ext cx="5425015" cy="401140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561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med 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32579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accent2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339" y="5681609"/>
            <a:ext cx="3701660" cy="1062168"/>
          </a:xfrm>
          <a:prstGeom prst="rect">
            <a:avLst/>
          </a:prstGeom>
        </p:spPr>
      </p:pic>
      <p:sp>
        <p:nvSpPr>
          <p:cNvPr id="6" name="TekstSylinder 5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3866646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C0AC1-8ED5-4579-A339-773B8DA52B83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Plassholder for innhold 2"/>
          <p:cNvSpPr>
            <a:spLocks noGrp="1"/>
          </p:cNvSpPr>
          <p:nvPr>
            <p:ph idx="1"/>
          </p:nvPr>
        </p:nvSpPr>
        <p:spPr>
          <a:xfrm>
            <a:off x="575733" y="2009885"/>
            <a:ext cx="5425019" cy="3327291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13"/>
          </p:nvPr>
        </p:nvSpPr>
        <p:spPr>
          <a:xfrm>
            <a:off x="6191253" y="2009886"/>
            <a:ext cx="5425015" cy="332720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179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22F18-C839-45B4-B116-8BDB615057E8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4262459" y="3294280"/>
            <a:ext cx="3708403" cy="37739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nb-NO" sz="1800">
              <a:solidFill>
                <a:srgbClr val="7FC6E8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7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4" y="2009886"/>
            <a:ext cx="5040001" cy="3327375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7" y="2009885"/>
            <a:ext cx="5042871" cy="3327291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105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526E0-087C-489C-82E3-F36178485C97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3919541" y="3637200"/>
            <a:ext cx="4403247" cy="3864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nb-NO" sz="1800">
              <a:solidFill>
                <a:srgbClr val="7FC6E8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7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4" y="2009884"/>
            <a:ext cx="5040001" cy="401150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7" y="2009885"/>
            <a:ext cx="5042871" cy="401140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605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F7DAF-4EF3-49E3-92D8-51D13EAD4C7B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11040535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6381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0675E-F363-40FC-B809-16D943480BE0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11040535" cy="333792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0881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B69A0E-4A8F-4C50-8A71-7F51F90F3CB0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7"/>
          </p:nvPr>
        </p:nvSpPr>
        <p:spPr>
          <a:xfrm>
            <a:off x="4303833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2" name="Plassholder for tekst 8"/>
          <p:cNvSpPr>
            <a:spLocks noGrp="1"/>
          </p:cNvSpPr>
          <p:nvPr>
            <p:ph type="body" sz="quarter" idx="18"/>
          </p:nvPr>
        </p:nvSpPr>
        <p:spPr>
          <a:xfrm>
            <a:off x="4312911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lassholder for innhold 2"/>
          <p:cNvSpPr>
            <a:spLocks noGrp="1"/>
          </p:cNvSpPr>
          <p:nvPr>
            <p:ph idx="19"/>
          </p:nvPr>
        </p:nvSpPr>
        <p:spPr>
          <a:xfrm>
            <a:off x="8031937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20"/>
          </p:nvPr>
        </p:nvSpPr>
        <p:spPr>
          <a:xfrm>
            <a:off x="8050089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772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776CB-C6CB-4313-98BB-C9FC8670CD1E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2"/>
            <a:ext cx="5425019" cy="18250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1253" y="1988776"/>
            <a:ext cx="5425015" cy="4032512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2" name="Plassholder for innhold 2"/>
          <p:cNvSpPr>
            <a:spLocks noGrp="1"/>
          </p:cNvSpPr>
          <p:nvPr>
            <p:ph idx="18"/>
          </p:nvPr>
        </p:nvSpPr>
        <p:spPr>
          <a:xfrm>
            <a:off x="589049" y="4194764"/>
            <a:ext cx="5425019" cy="18250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9"/>
          </p:nvPr>
        </p:nvSpPr>
        <p:spPr>
          <a:xfrm>
            <a:off x="589052" y="3824288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3787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E0936-BF94-4ABD-B8FD-5D668A287724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688031" y="1679887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688031" y="5204359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688031" y="4323241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688031" y="3442123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688031" y="2561005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575733" y="1628775"/>
            <a:ext cx="2189560" cy="4392615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62" fontAlgn="base">
              <a:spcBef>
                <a:spcPct val="50000"/>
              </a:spcBef>
              <a:spcAft>
                <a:spcPct val="0"/>
              </a:spcAft>
            </a:pPr>
            <a:endParaRPr lang="en-US" sz="1292" dirty="0">
              <a:solidFill>
                <a:srgbClr val="005AA4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915452" y="1680884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915452" y="2562002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915452" y="3443119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915452" y="4324238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915452" y="5205356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2478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B75D0-B52C-40D7-B601-5943AC1E1B14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12445" y="1628775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83471" y="162877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583471" y="314161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583471" y="465444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2712445" y="3141610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2712445" y="4654442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90207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31EC9-DDFF-46FD-A068-CAD9300019C1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12443" y="1628775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83471" y="162877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583471" y="314161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583471" y="465444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2712443" y="3141610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2712443" y="4654442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8338695" y="1625195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6209723" y="162519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6209723" y="313803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6209723" y="465086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8338695" y="3138030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8338695" y="4650862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092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"/>
            <a:ext cx="804741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106" y="2001854"/>
            <a:ext cx="7028252" cy="1487308"/>
          </a:xfrm>
        </p:spPr>
        <p:txBody>
          <a:bodyPr anchor="t" anchorCtr="0">
            <a:normAutofit/>
          </a:bodyPr>
          <a:lstStyle>
            <a:lvl1pPr algn="ctr"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106" y="3670662"/>
            <a:ext cx="7028252" cy="469305"/>
          </a:xfrm>
        </p:spPr>
        <p:txBody>
          <a:bodyPr wrap="square">
            <a:spAutoFit/>
          </a:bodyPr>
          <a:lstStyle>
            <a:lvl1pPr marL="0" indent="0" algn="ctr">
              <a:buNone/>
              <a:defRPr sz="30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8047532" y="0"/>
            <a:ext cx="4144472" cy="685800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4425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6"/>
          <p:cNvSpPr/>
          <p:nvPr userDrawn="1"/>
        </p:nvSpPr>
        <p:spPr>
          <a:xfrm>
            <a:off x="3" y="-17027"/>
            <a:ext cx="6095999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932" y="2550923"/>
            <a:ext cx="4793711" cy="344711"/>
          </a:xfrm>
        </p:spPr>
        <p:txBody>
          <a:bodyPr anchor="t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45885" y="995531"/>
            <a:ext cx="4794491" cy="5104487"/>
          </a:xfrm>
        </p:spPr>
        <p:txBody>
          <a:bodyPr/>
          <a:lstStyle>
            <a:lvl2pPr marL="355591" indent="-177796">
              <a:defRPr lang="nb-NO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4124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2095608" y="1724617"/>
            <a:ext cx="8004321" cy="3089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5" tIns="17137" rIns="34275" bIns="17137" rtlCol="0" anchor="ctr"/>
          <a:lstStyle/>
          <a:p>
            <a:pPr algn="ctr" defTabSz="914377"/>
            <a:endParaRPr lang="nb-NO" sz="1500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5" y="2286293"/>
            <a:ext cx="6689951" cy="2158713"/>
          </a:xfrm>
        </p:spPr>
        <p:txBody>
          <a:bodyPr anchor="t" anchorCtr="0">
            <a:normAutofit/>
          </a:bodyPr>
          <a:lstStyle>
            <a:lvl1pPr>
              <a:defRPr sz="3700" b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16516E-F3FD-42FA-A8CC-F7F3E5EE06BD}" type="datetime1">
              <a:rPr lang="nb-NO" smtClean="0">
                <a:solidFill>
                  <a:prstClr val="black"/>
                </a:solidFill>
              </a:rPr>
              <a:t>10.05.2019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pic>
        <p:nvPicPr>
          <p:cNvPr id="9" name="Bild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37" y="1292057"/>
            <a:ext cx="1011200" cy="758400"/>
          </a:xfrm>
          <a:prstGeom prst="rect">
            <a:avLst/>
          </a:prstGeom>
        </p:spPr>
      </p:pic>
      <p:sp>
        <p:nvSpPr>
          <p:cNvPr id="10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8841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43">
          <p15:clr>
            <a:srgbClr val="FBAE40"/>
          </p15:clr>
        </p15:guide>
        <p15:guide id="2" pos="1208">
          <p15:clr>
            <a:srgbClr val="FBAE40"/>
          </p15:clr>
        </p15:guide>
        <p15:guide id="3" orient="horz" pos="926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4F922-7709-457E-BFB2-6D20A6553AB0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2455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6"/>
          <p:cNvSpPr/>
          <p:nvPr userDrawn="1"/>
        </p:nvSpPr>
        <p:spPr>
          <a:xfrm>
            <a:off x="3" y="-17027"/>
            <a:ext cx="12191999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660320" y="2563527"/>
            <a:ext cx="8862587" cy="1976015"/>
          </a:xfrm>
        </p:spPr>
        <p:txBody>
          <a:bodyPr anchor="t" anchorCtr="0">
            <a:noAutofit/>
          </a:bodyPr>
          <a:lstStyle>
            <a:lvl1pPr algn="ctr">
              <a:defRPr sz="7500" b="1">
                <a:solidFill>
                  <a:srgbClr val="FFFFFF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5" name="Picture 4" descr="rgb_SB1_BV_verti_ne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723" y="5373218"/>
            <a:ext cx="4943872" cy="106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3019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AA4AE-1668-4B7F-A562-B65F49A8A98B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6" y="1628776"/>
            <a:ext cx="5425017" cy="43926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6191253" y="1628777"/>
            <a:ext cx="5425015" cy="4392513"/>
          </a:xfrm>
          <a:solidFill>
            <a:schemeClr val="bg2"/>
          </a:solidFill>
        </p:spPr>
        <p:txBody>
          <a:bodyPr bIns="899566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nb-NO" dirty="0"/>
          </a:p>
        </p:txBody>
      </p:sp>
      <p:sp>
        <p:nvSpPr>
          <p:cNvPr id="10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401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31486" y="691290"/>
            <a:ext cx="4793711" cy="344711"/>
          </a:xfrm>
        </p:spPr>
        <p:txBody>
          <a:bodyPr anchor="t" anchorCtr="0"/>
          <a:lstStyle>
            <a:lvl1pPr>
              <a:defRPr>
                <a:solidFill>
                  <a:srgbClr val="1F82B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4EEF2-A406-4277-83CD-385137A9B997}" type="datetime1">
              <a:rPr lang="nb-NO" smtClean="0">
                <a:solidFill>
                  <a:srgbClr val="7FC6E8"/>
                </a:solidFill>
              </a:rPr>
              <a:t>10.05.2019</a:t>
            </a:fld>
            <a:endParaRPr lang="nb-NO">
              <a:solidFill>
                <a:srgbClr val="7FC6E8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srgbClr val="7FC6E8"/>
                </a:solidFill>
              </a:rPr>
              <a:t>Lederforum</a:t>
            </a:r>
            <a:endParaRPr lang="nb-NO">
              <a:solidFill>
                <a:srgbClr val="7FC6E8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srgbClr val="7FC6E8"/>
                </a:solidFill>
              </a:rPr>
              <a:pPr/>
              <a:t>‹#›</a:t>
            </a:fld>
            <a:endParaRPr lang="nb-NO">
              <a:solidFill>
                <a:srgbClr val="7FC6E8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31481" y="2385299"/>
            <a:ext cx="4794491" cy="37387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3" y="0"/>
            <a:ext cx="6095996" cy="6858000"/>
          </a:xfrm>
          <a:prstGeom prst="rect">
            <a:avLst/>
          </a:prstGeom>
          <a:solidFill>
            <a:schemeClr val="bg2"/>
          </a:solidFill>
        </p:spPr>
        <p:txBody>
          <a:bodyPr lIns="45699" tIns="22849" rIns="45699" bIns="1799130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570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D94EA-779D-4F20-9E4C-2D1F8E2F43AA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75735" y="1628776"/>
            <a:ext cx="11040532" cy="4392613"/>
          </a:xfrm>
          <a:solidFill>
            <a:schemeClr val="bg2"/>
          </a:solidFill>
        </p:spPr>
        <p:txBody>
          <a:bodyPr bIns="899566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3149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sirkel og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6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1799640" bIns="0" anchor="ctr" anchorCtr="1">
            <a:normAutofit/>
          </a:bodyPr>
          <a:lstStyle>
            <a:lvl1pPr marL="0" indent="0">
              <a:buNone/>
              <a:defRPr sz="1800" baseline="0"/>
            </a:lvl1pPr>
          </a:lstStyle>
          <a:p>
            <a:r>
              <a:rPr lang="en-US" dirty="0" smtClean="0"/>
              <a:t>Sett inn </a:t>
            </a:r>
            <a:r>
              <a:rPr lang="en-US" dirty="0" err="1" smtClean="0"/>
              <a:t>bild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916258" y="5826655"/>
            <a:ext cx="6043319" cy="286360"/>
          </a:xfrm>
        </p:spPr>
        <p:txBody>
          <a:bodyPr>
            <a:norm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  <a:lvl2pPr marL="171346" indent="0" algn="ctr">
              <a:buNone/>
              <a:defRPr sz="800"/>
            </a:lvl2pPr>
            <a:lvl3pPr marL="342691" indent="0" algn="ctr">
              <a:buNone/>
              <a:defRPr sz="700"/>
            </a:lvl3pPr>
            <a:lvl4pPr marL="514038" indent="0" algn="ctr">
              <a:buNone/>
              <a:defRPr sz="600"/>
            </a:lvl4pPr>
            <a:lvl5pPr marL="685382" indent="0" algn="ctr">
              <a:buNone/>
              <a:defRPr sz="600"/>
            </a:lvl5pPr>
            <a:lvl6pPr marL="856729" indent="0" algn="ctr">
              <a:buNone/>
              <a:defRPr sz="600"/>
            </a:lvl6pPr>
            <a:lvl7pPr marL="1028074" indent="0" algn="ctr">
              <a:buNone/>
              <a:defRPr sz="600"/>
            </a:lvl7pPr>
            <a:lvl8pPr marL="1199421" indent="0" algn="ctr">
              <a:buNone/>
              <a:defRPr sz="600"/>
            </a:lvl8pPr>
            <a:lvl9pPr marL="1370766" indent="0" algn="ctr">
              <a:buNone/>
              <a:defRPr sz="600"/>
            </a:lvl9pPr>
          </a:lstStyle>
          <a:p>
            <a:r>
              <a:rPr lang="nb-NO" dirty="0" smtClean="0"/>
              <a:t>Navn </a:t>
            </a:r>
            <a:r>
              <a:rPr lang="nb-NO" dirty="0" err="1" smtClean="0"/>
              <a:t>Navnesen</a:t>
            </a:r>
            <a:endParaRPr lang="nb-NO" dirty="0"/>
          </a:p>
        </p:txBody>
      </p:sp>
      <p:sp>
        <p:nvSpPr>
          <p:cNvPr id="10" name="Ellipse 9"/>
          <p:cNvSpPr>
            <a:spLocks/>
          </p:cNvSpPr>
          <p:nvPr userDrawn="1"/>
        </p:nvSpPr>
        <p:spPr>
          <a:xfrm>
            <a:off x="761445" y="1418197"/>
            <a:ext cx="4503371" cy="337820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2" tIns="17135" rIns="34272" bIns="17135" rtlCol="0" anchor="ctr"/>
          <a:lstStyle/>
          <a:p>
            <a:pPr algn="ctr" defTabSz="914377"/>
            <a:endParaRPr lang="nb-NO" sz="1400">
              <a:solidFill>
                <a:srgbClr val="7FC6E8"/>
              </a:solidFill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 hasCustomPrompt="1"/>
          </p:nvPr>
        </p:nvSpPr>
        <p:spPr>
          <a:xfrm>
            <a:off x="916255" y="2268024"/>
            <a:ext cx="4208304" cy="1197011"/>
          </a:xfrm>
        </p:spPr>
        <p:txBody>
          <a:bodyPr lIns="269946" rIns="269946" anchor="t" anchorCtr="0">
            <a:normAutofit/>
          </a:bodyPr>
          <a:lstStyle>
            <a:lvl1pPr algn="l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ittel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916257" y="6113015"/>
            <a:ext cx="6043219" cy="5674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Tittel og avdeling</a:t>
            </a: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915931" y="3465034"/>
            <a:ext cx="4208631" cy="829945"/>
          </a:xfrm>
        </p:spPr>
        <p:txBody>
          <a:bodyPr lIns="269946" rIns="269946"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Undertittel</a:t>
            </a:r>
          </a:p>
        </p:txBody>
      </p:sp>
      <p:pic>
        <p:nvPicPr>
          <p:cNvPr id="12" name="Picture 11" descr="rgb_SB1_BV_verti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6165304"/>
            <a:ext cx="2549359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2043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90437" y="6503988"/>
            <a:ext cx="525785" cy="153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3E770B8-F5B9-46D8-8F91-2D2E423C8B0E}" type="datetime1">
              <a:rPr lang="nb-NO" smtClean="0">
                <a:solidFill>
                  <a:srgbClr val="000000"/>
                </a:solidFill>
              </a:rPr>
              <a:t>10.05.2019</a:t>
            </a:fld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292854" y="6503988"/>
            <a:ext cx="408767" cy="153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0000"/>
                </a:solidFill>
              </a:rPr>
              <a:t>Side </a:t>
            </a:r>
            <a:fld id="{25DAC9E2-A06D-4D60-97CD-C6A0458E6D3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333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0680" y="6441947"/>
            <a:ext cx="525785" cy="153888"/>
          </a:xfrm>
        </p:spPr>
        <p:txBody>
          <a:bodyPr/>
          <a:lstStyle/>
          <a:p>
            <a:fld id="{335B5D83-B5C3-4A1B-87C0-74761293ECC4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4141-8841-40C3-BC48-E59BF2004B73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55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4585" y="-1314"/>
            <a:ext cx="804741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680891" y="2001854"/>
            <a:ext cx="7028252" cy="1487308"/>
          </a:xfrm>
        </p:spPr>
        <p:txBody>
          <a:bodyPr anchor="t" anchorCtr="0">
            <a:noAutofit/>
          </a:bodyPr>
          <a:lstStyle>
            <a:lvl1pPr algn="ctr"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680891" y="3670662"/>
            <a:ext cx="7028252" cy="469305"/>
          </a:xfrm>
        </p:spPr>
        <p:txBody>
          <a:bodyPr wrap="square">
            <a:spAutoFit/>
          </a:bodyPr>
          <a:lstStyle>
            <a:lvl1pPr marL="0" indent="0" algn="ctr">
              <a:buNone/>
              <a:defRPr sz="30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4144472" cy="6881267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8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108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7736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3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9A96-4E8C-457E-B9DA-5FAD5B671E02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58299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8B0A5-5A07-45C7-9531-5A3D2BB49B90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695832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e Agere 5 tema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04336" y="1541381"/>
            <a:ext cx="8006416" cy="828001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dirty="0" smtClean="0"/>
            </a:lvl1pPr>
            <a:lvl2pPr>
              <a:defRPr lang="en-US" sz="1015" noProof="0" dirty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404336" y="5214973"/>
            <a:ext cx="8006416" cy="828001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04336" y="4296572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404336" y="3378175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smtClean="0"/>
              <a:t>Click to edit Master text styles</a:t>
            </a:r>
          </a:p>
          <a:p>
            <a:pPr marL="155561" lvl="1" indent="-155561"/>
            <a:r>
              <a:rPr lang="en-US" noProof="0" smtClean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404336" y="2459779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smtClean="0"/>
              <a:t>Click to edit Master text styles</a:t>
            </a:r>
          </a:p>
          <a:p>
            <a:pPr marL="155561" lvl="1" indent="-155561"/>
            <a:r>
              <a:rPr lang="en-US" noProof="0" smtClean="0"/>
              <a:t>Second level</a:t>
            </a:r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778487" y="1484784"/>
            <a:ext cx="1774092" cy="4608512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6687" tIns="39877" rIns="76687" bIns="398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154" fontAlgn="base">
              <a:spcBef>
                <a:spcPct val="50000"/>
              </a:spcBef>
              <a:spcAft>
                <a:spcPct val="0"/>
              </a:spcAft>
            </a:pPr>
            <a:endParaRPr lang="en-US" sz="1193" dirty="0">
              <a:solidFill>
                <a:srgbClr val="005AA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845032" y="1541380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845032" y="2459779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845032" y="3378175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845032" y="4296572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845032" y="5214971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40849" y="6441947"/>
            <a:ext cx="525785" cy="153888"/>
          </a:xfrm>
        </p:spPr>
        <p:txBody>
          <a:bodyPr/>
          <a:lstStyle/>
          <a:p>
            <a:fld id="{03AEDB0C-7F6F-48D3-94A8-B312D6188C5B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1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1535503" y="6441947"/>
            <a:ext cx="7888869" cy="153888"/>
          </a:xfrm>
        </p:spPr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1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293420" y="6441947"/>
            <a:ext cx="153888" cy="153888"/>
          </a:xfrm>
        </p:spPr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81253" y="6165304"/>
            <a:ext cx="10629499" cy="154800"/>
          </a:xfrm>
        </p:spPr>
        <p:txBody>
          <a:bodyPr anchor="ctr">
            <a:normAutofit/>
          </a:bodyPr>
          <a:lstStyle>
            <a:lvl1pPr marL="0" indent="0">
              <a:buNone/>
              <a:defRPr sz="923"/>
            </a:lvl1pPr>
          </a:lstStyle>
          <a:p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0457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6"/>
            <a:ext cx="3700520" cy="1061841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39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6" indent="0" algn="ctr">
              <a:buNone/>
              <a:defRPr sz="1067"/>
            </a:lvl2pPr>
            <a:lvl3pPr marL="456991" indent="0" algn="ctr">
              <a:buNone/>
              <a:defRPr sz="933"/>
            </a:lvl3pPr>
            <a:lvl4pPr marL="685487" indent="0" algn="ctr">
              <a:buNone/>
              <a:defRPr sz="800"/>
            </a:lvl4pPr>
            <a:lvl5pPr marL="913980" indent="0" algn="ctr">
              <a:buNone/>
              <a:defRPr sz="800"/>
            </a:lvl5pPr>
            <a:lvl6pPr marL="1142475" indent="0" algn="ctr">
              <a:buNone/>
              <a:defRPr sz="800"/>
            </a:lvl6pPr>
            <a:lvl7pPr marL="1370971" indent="0" algn="ctr">
              <a:buNone/>
              <a:defRPr sz="800"/>
            </a:lvl7pPr>
            <a:lvl8pPr marL="1599467" indent="0" algn="ctr">
              <a:buNone/>
              <a:defRPr sz="800"/>
            </a:lvl8pPr>
            <a:lvl9pPr marL="1827962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2448163" y="2039657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39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7105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88">
          <p15:clr>
            <a:srgbClr val="FBAE40"/>
          </p15:clr>
        </p15:guide>
        <p15:guide id="2" pos="1011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92616" y="1724895"/>
            <a:ext cx="8006773" cy="308890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90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90679" y="6441947"/>
            <a:ext cx="671124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A289F7-AB34-4FED-873D-14ED13FF9F90}" type="datetime1">
              <a:rPr lang="nb-NO" smtClean="0">
                <a:solidFill>
                  <a:prstClr val="black"/>
                </a:solidFill>
              </a:rPr>
              <a:t>10.05.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 smtClean="0">
                <a:solidFill>
                  <a:prstClr val="black"/>
                </a:solidFill>
              </a:rPr>
              <a:t>Lederforum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898554" y="5049636"/>
            <a:ext cx="7103351" cy="64250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41" y="952320"/>
            <a:ext cx="1008031" cy="101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275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40848" y="6441947"/>
            <a:ext cx="589905" cy="153888"/>
          </a:xfrm>
        </p:spPr>
        <p:txBody>
          <a:bodyPr/>
          <a:lstStyle>
            <a:lvl1pPr>
              <a:defRPr sz="1000"/>
            </a:lvl1pPr>
          </a:lstStyle>
          <a:p>
            <a:fld id="{12525069-639F-4B72-BFC8-324B8AE54FCE}" type="datetime1">
              <a:rPr lang="nb-NO" smtClean="0">
                <a:solidFill>
                  <a:srgbClr val="032A74"/>
                </a:solidFill>
              </a:rPr>
              <a:pPr/>
              <a:t>10.05.2019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466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33369-DC5B-4BFE-B25B-C0BA14D1AE6E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81252" y="3026177"/>
            <a:ext cx="10629797" cy="297037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781252" y="1660529"/>
            <a:ext cx="10629499" cy="10801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25993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545D0-27D2-46C7-839B-FB60FAAE714D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81256" y="1660527"/>
            <a:ext cx="479371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616257" y="1660527"/>
            <a:ext cx="479449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2958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image" Target="../media/image87.png"/><Relationship Id="rId21" Type="http://schemas.openxmlformats.org/officeDocument/2006/relationships/slideLayout" Target="../slideLayouts/slideLayout21.xml"/><Relationship Id="rId42" Type="http://schemas.openxmlformats.org/officeDocument/2006/relationships/image" Target="../media/image12.png"/><Relationship Id="rId47" Type="http://schemas.openxmlformats.org/officeDocument/2006/relationships/image" Target="../media/image17.png"/><Relationship Id="rId63" Type="http://schemas.openxmlformats.org/officeDocument/2006/relationships/image" Target="../media/image33.png"/><Relationship Id="rId68" Type="http://schemas.openxmlformats.org/officeDocument/2006/relationships/image" Target="../media/image38.png"/><Relationship Id="rId84" Type="http://schemas.openxmlformats.org/officeDocument/2006/relationships/image" Target="../media/image54.png"/><Relationship Id="rId89" Type="http://schemas.openxmlformats.org/officeDocument/2006/relationships/image" Target="../media/image59.png"/><Relationship Id="rId112" Type="http://schemas.openxmlformats.org/officeDocument/2006/relationships/image" Target="../media/image82.png"/><Relationship Id="rId16" Type="http://schemas.openxmlformats.org/officeDocument/2006/relationships/slideLayout" Target="../slideLayouts/slideLayout16.xml"/><Relationship Id="rId107" Type="http://schemas.openxmlformats.org/officeDocument/2006/relationships/image" Target="../media/image77.png"/><Relationship Id="rId11" Type="http://schemas.openxmlformats.org/officeDocument/2006/relationships/slideLayout" Target="../slideLayouts/slideLayout11.xml"/><Relationship Id="rId32" Type="http://schemas.openxmlformats.org/officeDocument/2006/relationships/image" Target="../media/image2.png"/><Relationship Id="rId37" Type="http://schemas.openxmlformats.org/officeDocument/2006/relationships/image" Target="../media/image7.png"/><Relationship Id="rId53" Type="http://schemas.openxmlformats.org/officeDocument/2006/relationships/image" Target="../media/image23.png"/><Relationship Id="rId58" Type="http://schemas.openxmlformats.org/officeDocument/2006/relationships/image" Target="../media/image28.png"/><Relationship Id="rId74" Type="http://schemas.openxmlformats.org/officeDocument/2006/relationships/image" Target="../media/image44.png"/><Relationship Id="rId79" Type="http://schemas.openxmlformats.org/officeDocument/2006/relationships/image" Target="../media/image49.png"/><Relationship Id="rId102" Type="http://schemas.openxmlformats.org/officeDocument/2006/relationships/image" Target="../media/image72.png"/><Relationship Id="rId123" Type="http://schemas.openxmlformats.org/officeDocument/2006/relationships/image" Target="../media/image93.png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60.png"/><Relationship Id="rId95" Type="http://schemas.openxmlformats.org/officeDocument/2006/relationships/image" Target="../media/image65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5.png"/><Relationship Id="rId43" Type="http://schemas.openxmlformats.org/officeDocument/2006/relationships/image" Target="../media/image13.png"/><Relationship Id="rId48" Type="http://schemas.openxmlformats.org/officeDocument/2006/relationships/image" Target="../media/image18.png"/><Relationship Id="rId56" Type="http://schemas.openxmlformats.org/officeDocument/2006/relationships/image" Target="../media/image26.png"/><Relationship Id="rId64" Type="http://schemas.openxmlformats.org/officeDocument/2006/relationships/image" Target="../media/image34.png"/><Relationship Id="rId69" Type="http://schemas.openxmlformats.org/officeDocument/2006/relationships/image" Target="../media/image39.png"/><Relationship Id="rId77" Type="http://schemas.openxmlformats.org/officeDocument/2006/relationships/image" Target="../media/image47.png"/><Relationship Id="rId100" Type="http://schemas.openxmlformats.org/officeDocument/2006/relationships/image" Target="../media/image70.png"/><Relationship Id="rId105" Type="http://schemas.openxmlformats.org/officeDocument/2006/relationships/image" Target="../media/image75.png"/><Relationship Id="rId113" Type="http://schemas.openxmlformats.org/officeDocument/2006/relationships/image" Target="../media/image83.png"/><Relationship Id="rId118" Type="http://schemas.openxmlformats.org/officeDocument/2006/relationships/image" Target="../media/image88.png"/><Relationship Id="rId126" Type="http://schemas.openxmlformats.org/officeDocument/2006/relationships/image" Target="../media/image96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1.png"/><Relationship Id="rId72" Type="http://schemas.openxmlformats.org/officeDocument/2006/relationships/image" Target="../media/image42.png"/><Relationship Id="rId80" Type="http://schemas.openxmlformats.org/officeDocument/2006/relationships/image" Target="../media/image50.png"/><Relationship Id="rId85" Type="http://schemas.openxmlformats.org/officeDocument/2006/relationships/image" Target="../media/image55.png"/><Relationship Id="rId93" Type="http://schemas.openxmlformats.org/officeDocument/2006/relationships/image" Target="../media/image63.png"/><Relationship Id="rId98" Type="http://schemas.openxmlformats.org/officeDocument/2006/relationships/image" Target="../media/image68.png"/><Relationship Id="rId121" Type="http://schemas.openxmlformats.org/officeDocument/2006/relationships/image" Target="../media/image9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38" Type="http://schemas.openxmlformats.org/officeDocument/2006/relationships/image" Target="../media/image8.png"/><Relationship Id="rId46" Type="http://schemas.openxmlformats.org/officeDocument/2006/relationships/image" Target="../media/image16.png"/><Relationship Id="rId59" Type="http://schemas.openxmlformats.org/officeDocument/2006/relationships/image" Target="../media/image29.png"/><Relationship Id="rId67" Type="http://schemas.openxmlformats.org/officeDocument/2006/relationships/image" Target="../media/image37.png"/><Relationship Id="rId103" Type="http://schemas.openxmlformats.org/officeDocument/2006/relationships/image" Target="../media/image73.png"/><Relationship Id="rId108" Type="http://schemas.openxmlformats.org/officeDocument/2006/relationships/image" Target="../media/image78.png"/><Relationship Id="rId116" Type="http://schemas.openxmlformats.org/officeDocument/2006/relationships/image" Target="../media/image86.png"/><Relationship Id="rId124" Type="http://schemas.openxmlformats.org/officeDocument/2006/relationships/image" Target="../media/image94.png"/><Relationship Id="rId20" Type="http://schemas.openxmlformats.org/officeDocument/2006/relationships/slideLayout" Target="../slideLayouts/slideLayout20.xml"/><Relationship Id="rId41" Type="http://schemas.openxmlformats.org/officeDocument/2006/relationships/image" Target="../media/image11.png"/><Relationship Id="rId54" Type="http://schemas.openxmlformats.org/officeDocument/2006/relationships/image" Target="../media/image24.png"/><Relationship Id="rId62" Type="http://schemas.openxmlformats.org/officeDocument/2006/relationships/image" Target="../media/image32.png"/><Relationship Id="rId70" Type="http://schemas.openxmlformats.org/officeDocument/2006/relationships/image" Target="../media/image40.png"/><Relationship Id="rId75" Type="http://schemas.openxmlformats.org/officeDocument/2006/relationships/image" Target="../media/image45.png"/><Relationship Id="rId83" Type="http://schemas.openxmlformats.org/officeDocument/2006/relationships/image" Target="../media/image53.png"/><Relationship Id="rId88" Type="http://schemas.openxmlformats.org/officeDocument/2006/relationships/image" Target="../media/image58.png"/><Relationship Id="rId91" Type="http://schemas.openxmlformats.org/officeDocument/2006/relationships/image" Target="../media/image61.png"/><Relationship Id="rId96" Type="http://schemas.openxmlformats.org/officeDocument/2006/relationships/image" Target="../media/image66.png"/><Relationship Id="rId111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6.png"/><Relationship Id="rId49" Type="http://schemas.openxmlformats.org/officeDocument/2006/relationships/image" Target="../media/image19.png"/><Relationship Id="rId57" Type="http://schemas.openxmlformats.org/officeDocument/2006/relationships/image" Target="../media/image27.png"/><Relationship Id="rId106" Type="http://schemas.openxmlformats.org/officeDocument/2006/relationships/image" Target="../media/image76.png"/><Relationship Id="rId114" Type="http://schemas.openxmlformats.org/officeDocument/2006/relationships/image" Target="../media/image84.png"/><Relationship Id="rId119" Type="http://schemas.openxmlformats.org/officeDocument/2006/relationships/image" Target="../media/image89.png"/><Relationship Id="rId127" Type="http://schemas.openxmlformats.org/officeDocument/2006/relationships/image" Target="../media/image97.png"/><Relationship Id="rId10" Type="http://schemas.openxmlformats.org/officeDocument/2006/relationships/slideLayout" Target="../slideLayouts/slideLayout10.xml"/><Relationship Id="rId31" Type="http://schemas.openxmlformats.org/officeDocument/2006/relationships/image" Target="../media/image1.png"/><Relationship Id="rId44" Type="http://schemas.openxmlformats.org/officeDocument/2006/relationships/image" Target="../media/image14.png"/><Relationship Id="rId52" Type="http://schemas.openxmlformats.org/officeDocument/2006/relationships/image" Target="../media/image22.png"/><Relationship Id="rId60" Type="http://schemas.openxmlformats.org/officeDocument/2006/relationships/image" Target="../media/image30.png"/><Relationship Id="rId65" Type="http://schemas.openxmlformats.org/officeDocument/2006/relationships/image" Target="../media/image35.png"/><Relationship Id="rId73" Type="http://schemas.openxmlformats.org/officeDocument/2006/relationships/image" Target="../media/image43.png"/><Relationship Id="rId78" Type="http://schemas.openxmlformats.org/officeDocument/2006/relationships/image" Target="../media/image48.png"/><Relationship Id="rId81" Type="http://schemas.openxmlformats.org/officeDocument/2006/relationships/image" Target="../media/image51.png"/><Relationship Id="rId86" Type="http://schemas.openxmlformats.org/officeDocument/2006/relationships/image" Target="../media/image56.png"/><Relationship Id="rId94" Type="http://schemas.openxmlformats.org/officeDocument/2006/relationships/image" Target="../media/image64.png"/><Relationship Id="rId99" Type="http://schemas.openxmlformats.org/officeDocument/2006/relationships/image" Target="../media/image69.png"/><Relationship Id="rId101" Type="http://schemas.openxmlformats.org/officeDocument/2006/relationships/image" Target="../media/image71.png"/><Relationship Id="rId122" Type="http://schemas.openxmlformats.org/officeDocument/2006/relationships/image" Target="../media/image9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image" Target="../media/image9.png"/><Relationship Id="rId109" Type="http://schemas.openxmlformats.org/officeDocument/2006/relationships/image" Target="../media/image79.png"/><Relationship Id="rId34" Type="http://schemas.openxmlformats.org/officeDocument/2006/relationships/image" Target="../media/image4.png"/><Relationship Id="rId50" Type="http://schemas.openxmlformats.org/officeDocument/2006/relationships/image" Target="../media/image20.png"/><Relationship Id="rId55" Type="http://schemas.openxmlformats.org/officeDocument/2006/relationships/image" Target="../media/image25.png"/><Relationship Id="rId76" Type="http://schemas.openxmlformats.org/officeDocument/2006/relationships/image" Target="../media/image46.png"/><Relationship Id="rId97" Type="http://schemas.openxmlformats.org/officeDocument/2006/relationships/image" Target="../media/image67.png"/><Relationship Id="rId104" Type="http://schemas.openxmlformats.org/officeDocument/2006/relationships/image" Target="../media/image74.png"/><Relationship Id="rId120" Type="http://schemas.openxmlformats.org/officeDocument/2006/relationships/image" Target="../media/image90.png"/><Relationship Id="rId125" Type="http://schemas.openxmlformats.org/officeDocument/2006/relationships/image" Target="../media/image95.pn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41.png"/><Relationship Id="rId92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image" Target="../media/image10.png"/><Relationship Id="rId45" Type="http://schemas.openxmlformats.org/officeDocument/2006/relationships/image" Target="../media/image15.png"/><Relationship Id="rId66" Type="http://schemas.openxmlformats.org/officeDocument/2006/relationships/image" Target="../media/image36.png"/><Relationship Id="rId87" Type="http://schemas.openxmlformats.org/officeDocument/2006/relationships/image" Target="../media/image57.png"/><Relationship Id="rId110" Type="http://schemas.openxmlformats.org/officeDocument/2006/relationships/image" Target="../media/image80.png"/><Relationship Id="rId115" Type="http://schemas.openxmlformats.org/officeDocument/2006/relationships/image" Target="../media/image85.png"/><Relationship Id="rId61" Type="http://schemas.openxmlformats.org/officeDocument/2006/relationships/image" Target="../media/image31.png"/><Relationship Id="rId82" Type="http://schemas.openxmlformats.org/officeDocument/2006/relationships/image" Target="../media/image5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oleObject" Target="../embeddings/oleObject3.bin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42" Type="http://schemas.openxmlformats.org/officeDocument/2006/relationships/image" Target="../media/image3.png"/><Relationship Id="rId47" Type="http://schemas.openxmlformats.org/officeDocument/2006/relationships/image" Target="../media/image8.png"/><Relationship Id="rId50" Type="http://schemas.openxmlformats.org/officeDocument/2006/relationships/image" Target="../media/image11.png"/><Relationship Id="rId55" Type="http://schemas.openxmlformats.org/officeDocument/2006/relationships/image" Target="../media/image16.png"/><Relationship Id="rId63" Type="http://schemas.openxmlformats.org/officeDocument/2006/relationships/image" Target="../media/image24.png"/><Relationship Id="rId68" Type="http://schemas.openxmlformats.org/officeDocument/2006/relationships/image" Target="../media/image29.png"/><Relationship Id="rId7" Type="http://schemas.openxmlformats.org/officeDocument/2006/relationships/slideLayout" Target="../slideLayouts/slideLayout36.xml"/><Relationship Id="rId71" Type="http://schemas.openxmlformats.org/officeDocument/2006/relationships/image" Target="../media/image32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vmlDrawing" Target="../drawings/vmlDrawing3.vml"/><Relationship Id="rId40" Type="http://schemas.openxmlformats.org/officeDocument/2006/relationships/image" Target="../media/image109.emf"/><Relationship Id="rId45" Type="http://schemas.openxmlformats.org/officeDocument/2006/relationships/image" Target="../media/image6.png"/><Relationship Id="rId53" Type="http://schemas.openxmlformats.org/officeDocument/2006/relationships/image" Target="../media/image14.png"/><Relationship Id="rId58" Type="http://schemas.openxmlformats.org/officeDocument/2006/relationships/image" Target="../media/image19.png"/><Relationship Id="rId66" Type="http://schemas.openxmlformats.org/officeDocument/2006/relationships/image" Target="../media/image27.png"/><Relationship Id="rId74" Type="http://schemas.openxmlformats.org/officeDocument/2006/relationships/image" Target="../media/image97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theme" Target="../theme/theme2.xml"/><Relationship Id="rId49" Type="http://schemas.openxmlformats.org/officeDocument/2006/relationships/image" Target="../media/image10.png"/><Relationship Id="rId57" Type="http://schemas.openxmlformats.org/officeDocument/2006/relationships/image" Target="../media/image18.png"/><Relationship Id="rId61" Type="http://schemas.openxmlformats.org/officeDocument/2006/relationships/image" Target="../media/image2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4" Type="http://schemas.openxmlformats.org/officeDocument/2006/relationships/image" Target="../media/image5.png"/><Relationship Id="rId52" Type="http://schemas.openxmlformats.org/officeDocument/2006/relationships/image" Target="../media/image13.png"/><Relationship Id="rId60" Type="http://schemas.openxmlformats.org/officeDocument/2006/relationships/image" Target="../media/image21.png"/><Relationship Id="rId65" Type="http://schemas.openxmlformats.org/officeDocument/2006/relationships/image" Target="../media/image26.png"/><Relationship Id="rId73" Type="http://schemas.openxmlformats.org/officeDocument/2006/relationships/image" Target="../media/image34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image" Target="../media/image4.png"/><Relationship Id="rId48" Type="http://schemas.openxmlformats.org/officeDocument/2006/relationships/image" Target="../media/image9.png"/><Relationship Id="rId56" Type="http://schemas.openxmlformats.org/officeDocument/2006/relationships/image" Target="../media/image17.png"/><Relationship Id="rId64" Type="http://schemas.openxmlformats.org/officeDocument/2006/relationships/image" Target="../media/image25.png"/><Relationship Id="rId69" Type="http://schemas.openxmlformats.org/officeDocument/2006/relationships/image" Target="../media/image30.png"/><Relationship Id="rId8" Type="http://schemas.openxmlformats.org/officeDocument/2006/relationships/slideLayout" Target="../slideLayouts/slideLayout37.xml"/><Relationship Id="rId51" Type="http://schemas.openxmlformats.org/officeDocument/2006/relationships/image" Target="../media/image12.png"/><Relationship Id="rId72" Type="http://schemas.openxmlformats.org/officeDocument/2006/relationships/image" Target="../media/image33.png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tags" Target="../tags/tag3.xml"/><Relationship Id="rId46" Type="http://schemas.openxmlformats.org/officeDocument/2006/relationships/image" Target="../media/image7.png"/><Relationship Id="rId59" Type="http://schemas.openxmlformats.org/officeDocument/2006/relationships/image" Target="../media/image20.png"/><Relationship Id="rId67" Type="http://schemas.openxmlformats.org/officeDocument/2006/relationships/image" Target="../media/image28.png"/><Relationship Id="rId20" Type="http://schemas.openxmlformats.org/officeDocument/2006/relationships/slideLayout" Target="../slideLayouts/slideLayout49.xml"/><Relationship Id="rId41" Type="http://schemas.openxmlformats.org/officeDocument/2006/relationships/image" Target="../media/image2.png"/><Relationship Id="rId54" Type="http://schemas.openxmlformats.org/officeDocument/2006/relationships/image" Target="../media/image15.png"/><Relationship Id="rId62" Type="http://schemas.openxmlformats.org/officeDocument/2006/relationships/image" Target="../media/image23.png"/><Relationship Id="rId70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792" y="6307991"/>
            <a:ext cx="1847213" cy="53004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81252" y="723457"/>
            <a:ext cx="10629499" cy="55810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81252" y="1660527"/>
            <a:ext cx="10629499" cy="43328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40848" y="6441947"/>
            <a:ext cx="605935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333">
                <a:solidFill>
                  <a:schemeClr val="accent4"/>
                </a:solidFill>
              </a:defRPr>
            </a:lvl1pPr>
          </a:lstStyle>
          <a:p>
            <a:pPr defTabSz="913912"/>
            <a:fld id="{A7B1B98F-AB15-46C4-BBDD-D069330569E9}" type="datetime1">
              <a:rPr lang="nb-NO" smtClean="0">
                <a:solidFill>
                  <a:srgbClr val="032A74"/>
                </a:solidFill>
              </a:rPr>
              <a:t>10.05.2019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535503" y="6441947"/>
            <a:ext cx="8358445" cy="2051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333">
                <a:solidFill>
                  <a:schemeClr val="accent4"/>
                </a:solidFill>
              </a:defRPr>
            </a:lvl1pPr>
          </a:lstStyle>
          <a:p>
            <a:pPr defTabSz="913912"/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93419" y="6441947"/>
            <a:ext cx="203582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333" b="1">
                <a:solidFill>
                  <a:schemeClr val="accent4"/>
                </a:solidFill>
              </a:defRPr>
            </a:lvl1pPr>
          </a:lstStyle>
          <a:p>
            <a:pPr defTabSz="913912"/>
            <a:fld id="{C8015E39-59DC-48A0-9676-AD2CAF5CD29F}" type="slidenum">
              <a:rPr lang="nb-NO" smtClean="0">
                <a:solidFill>
                  <a:srgbClr val="032A74"/>
                </a:solidFill>
              </a:rPr>
              <a:pPr defTabSz="913912"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grpSp>
        <p:nvGrpSpPr>
          <p:cNvPr id="74" name="bamse" hidden="1"/>
          <p:cNvGrpSpPr/>
          <p:nvPr userDrawn="1"/>
        </p:nvGrpSpPr>
        <p:grpSpPr>
          <a:xfrm>
            <a:off x="5313600" y="2646600"/>
            <a:ext cx="1564800" cy="15648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 userDrawn="1"/>
        </p:nvGrpSpPr>
        <p:grpSpPr>
          <a:xfrm>
            <a:off x="5313600" y="2646600"/>
            <a:ext cx="1564800" cy="15648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 userDrawn="1"/>
        </p:nvGrpSpPr>
        <p:grpSpPr>
          <a:xfrm>
            <a:off x="5313600" y="2646600"/>
            <a:ext cx="1564800" cy="15648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 userDrawn="1"/>
        </p:nvGrpSpPr>
        <p:grpSpPr>
          <a:xfrm>
            <a:off x="5313600" y="2646600"/>
            <a:ext cx="1564800" cy="15648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 userDrawn="1"/>
        </p:nvGrpSpPr>
        <p:grpSpPr>
          <a:xfrm>
            <a:off x="5313600" y="2646600"/>
            <a:ext cx="1564800" cy="15648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 userDrawn="1"/>
        </p:nvGrpSpPr>
        <p:grpSpPr>
          <a:xfrm>
            <a:off x="5313600" y="2646600"/>
            <a:ext cx="1564800" cy="15648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 userDrawn="1"/>
        </p:nvGrpSpPr>
        <p:grpSpPr>
          <a:xfrm>
            <a:off x="5313600" y="2646600"/>
            <a:ext cx="1564800" cy="15648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 userDrawn="1"/>
        </p:nvGrpSpPr>
        <p:grpSpPr>
          <a:xfrm>
            <a:off x="5313600" y="2646600"/>
            <a:ext cx="1564800" cy="15648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 userDrawn="1"/>
        </p:nvGrpSpPr>
        <p:grpSpPr>
          <a:xfrm>
            <a:off x="5313600" y="2646600"/>
            <a:ext cx="1564800" cy="15648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 userDrawn="1"/>
        </p:nvGrpSpPr>
        <p:grpSpPr>
          <a:xfrm>
            <a:off x="5313600" y="2646600"/>
            <a:ext cx="1564800" cy="15648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 userDrawn="1"/>
        </p:nvGrpSpPr>
        <p:grpSpPr>
          <a:xfrm>
            <a:off x="5313600" y="2646600"/>
            <a:ext cx="1564800" cy="15648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 userDrawn="1"/>
        </p:nvGrpSpPr>
        <p:grpSpPr>
          <a:xfrm>
            <a:off x="5313600" y="2646600"/>
            <a:ext cx="1564800" cy="15648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 userDrawn="1"/>
        </p:nvGrpSpPr>
        <p:grpSpPr>
          <a:xfrm>
            <a:off x="5313600" y="2646600"/>
            <a:ext cx="1564800" cy="15648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 userDrawn="1"/>
        </p:nvGrpSpPr>
        <p:grpSpPr>
          <a:xfrm>
            <a:off x="5313600" y="2646600"/>
            <a:ext cx="1564800" cy="15648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 userDrawn="1"/>
        </p:nvGrpSpPr>
        <p:grpSpPr>
          <a:xfrm>
            <a:off x="5313600" y="2646600"/>
            <a:ext cx="1564800" cy="15648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 userDrawn="1"/>
        </p:nvGrpSpPr>
        <p:grpSpPr>
          <a:xfrm>
            <a:off x="5313600" y="2646600"/>
            <a:ext cx="1564800" cy="15648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 userDrawn="1"/>
        </p:nvGrpSpPr>
        <p:grpSpPr>
          <a:xfrm>
            <a:off x="5313600" y="2646600"/>
            <a:ext cx="1564800" cy="15648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 userDrawn="1"/>
        </p:nvGrpSpPr>
        <p:grpSpPr>
          <a:xfrm>
            <a:off x="5313600" y="2646600"/>
            <a:ext cx="1564800" cy="15648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 userDrawn="1"/>
        </p:nvGrpSpPr>
        <p:grpSpPr>
          <a:xfrm>
            <a:off x="5313600" y="2646600"/>
            <a:ext cx="1564800" cy="15648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 userDrawn="1"/>
        </p:nvGrpSpPr>
        <p:grpSpPr>
          <a:xfrm>
            <a:off x="5313600" y="2646600"/>
            <a:ext cx="1564800" cy="15648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 userDrawn="1"/>
        </p:nvGrpSpPr>
        <p:grpSpPr>
          <a:xfrm>
            <a:off x="5313600" y="2646600"/>
            <a:ext cx="1564800" cy="15648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 userDrawn="1"/>
        </p:nvGrpSpPr>
        <p:grpSpPr>
          <a:xfrm>
            <a:off x="5313600" y="2646600"/>
            <a:ext cx="1564800" cy="15648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 userDrawn="1"/>
        </p:nvGrpSpPr>
        <p:grpSpPr>
          <a:xfrm>
            <a:off x="5313600" y="2646600"/>
            <a:ext cx="1564800" cy="15648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 userDrawn="1"/>
        </p:nvGrpSpPr>
        <p:grpSpPr>
          <a:xfrm>
            <a:off x="5313600" y="2646600"/>
            <a:ext cx="1564800" cy="15648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 userDrawn="1"/>
        </p:nvGrpSpPr>
        <p:grpSpPr>
          <a:xfrm>
            <a:off x="5313600" y="2646600"/>
            <a:ext cx="1564800" cy="15648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 userDrawn="1"/>
        </p:nvGrpSpPr>
        <p:grpSpPr>
          <a:xfrm>
            <a:off x="5313600" y="2646600"/>
            <a:ext cx="1564800" cy="15648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 userDrawn="1"/>
        </p:nvGrpSpPr>
        <p:grpSpPr>
          <a:xfrm>
            <a:off x="5313600" y="2646600"/>
            <a:ext cx="1564800" cy="15648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 userDrawn="1"/>
        </p:nvGrpSpPr>
        <p:grpSpPr>
          <a:xfrm>
            <a:off x="5313600" y="2646600"/>
            <a:ext cx="1564800" cy="15648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 userDrawn="1"/>
        </p:nvGrpSpPr>
        <p:grpSpPr>
          <a:xfrm>
            <a:off x="5313600" y="2646600"/>
            <a:ext cx="1564800" cy="15648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 userDrawn="1"/>
        </p:nvGrpSpPr>
        <p:grpSpPr>
          <a:xfrm>
            <a:off x="5313600" y="2646600"/>
            <a:ext cx="1564800" cy="15648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 userDrawn="1"/>
        </p:nvGrpSpPr>
        <p:grpSpPr>
          <a:xfrm>
            <a:off x="5313600" y="2646600"/>
            <a:ext cx="1564800" cy="15648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 userDrawn="1"/>
        </p:nvGrpSpPr>
        <p:grpSpPr>
          <a:xfrm>
            <a:off x="5313600" y="2646600"/>
            <a:ext cx="1564800" cy="15648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 userDrawn="1"/>
        </p:nvGrpSpPr>
        <p:grpSpPr>
          <a:xfrm>
            <a:off x="5313600" y="2646600"/>
            <a:ext cx="1564800" cy="15648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 userDrawn="1"/>
        </p:nvSpPr>
        <p:spPr>
          <a:xfrm>
            <a:off x="5327916" y="2660916"/>
            <a:ext cx="1536171" cy="15361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  <p:grpSp>
        <p:nvGrpSpPr>
          <p:cNvPr id="174" name="liste" hidden="1"/>
          <p:cNvGrpSpPr/>
          <p:nvPr userDrawn="1"/>
        </p:nvGrpSpPr>
        <p:grpSpPr>
          <a:xfrm>
            <a:off x="5328000" y="2468893"/>
            <a:ext cx="1536000" cy="1536000"/>
            <a:chOff x="1763688" y="1203598"/>
            <a:chExt cx="1152000" cy="1152000"/>
          </a:xfrm>
        </p:grpSpPr>
        <p:sp>
          <p:nvSpPr>
            <p:cNvPr id="175" name="liste_hvit_sirkel"/>
            <p:cNvSpPr/>
            <p:nvPr userDrawn="1"/>
          </p:nvSpPr>
          <p:spPr>
            <a:xfrm>
              <a:off x="1763688" y="12035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6" name="liste"/>
            <p:cNvPicPr>
              <a:picLocks noChangeAspect="1"/>
            </p:cNvPicPr>
            <p:nvPr userDrawn="1"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3688" y="12035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177" name="badekar" hidden="1"/>
          <p:cNvGrpSpPr/>
          <p:nvPr userDrawn="1"/>
        </p:nvGrpSpPr>
        <p:grpSpPr>
          <a:xfrm>
            <a:off x="5328000" y="2661000"/>
            <a:ext cx="1536000" cy="1536000"/>
            <a:chOff x="2832260" y="2186498"/>
            <a:chExt cx="1152000" cy="1152000"/>
          </a:xfrm>
        </p:grpSpPr>
        <p:sp>
          <p:nvSpPr>
            <p:cNvPr id="178" name="badekar_hvit_sirkel"/>
            <p:cNvSpPr/>
            <p:nvPr userDrawn="1"/>
          </p:nvSpPr>
          <p:spPr>
            <a:xfrm>
              <a:off x="2832260" y="21864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9" name="badekar"/>
            <p:cNvPicPr>
              <a:picLocks noChangeAspect="1"/>
            </p:cNvPicPr>
            <p:nvPr userDrawn="1"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2260" y="21864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0" name="fotoapparat" hidden="1"/>
          <p:cNvGrpSpPr/>
          <p:nvPr userDrawn="1"/>
        </p:nvGrpSpPr>
        <p:grpSpPr>
          <a:xfrm>
            <a:off x="5328000" y="2661000"/>
            <a:ext cx="1536000" cy="1536000"/>
            <a:chOff x="886757" y="2238110"/>
            <a:chExt cx="1152000" cy="1152000"/>
          </a:xfrm>
        </p:grpSpPr>
        <p:sp>
          <p:nvSpPr>
            <p:cNvPr id="181" name="fotoapparat_hvit_sirkel"/>
            <p:cNvSpPr/>
            <p:nvPr userDrawn="1"/>
          </p:nvSpPr>
          <p:spPr>
            <a:xfrm>
              <a:off x="886757" y="223811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2" name="fotoapparat"/>
            <p:cNvPicPr>
              <a:picLocks noChangeAspect="1"/>
            </p:cNvPicPr>
            <p:nvPr userDrawn="1"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757" y="2238110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3" name="x" hidden="1"/>
          <p:cNvGrpSpPr/>
          <p:nvPr userDrawn="1"/>
        </p:nvGrpSpPr>
        <p:grpSpPr>
          <a:xfrm>
            <a:off x="5328000" y="2661000"/>
            <a:ext cx="1536000" cy="1536000"/>
            <a:chOff x="914925" y="2697619"/>
            <a:chExt cx="1152000" cy="1152000"/>
          </a:xfrm>
        </p:grpSpPr>
        <p:sp>
          <p:nvSpPr>
            <p:cNvPr id="184" name="x_hvit_sirkel"/>
            <p:cNvSpPr/>
            <p:nvPr userDrawn="1"/>
          </p:nvSpPr>
          <p:spPr>
            <a:xfrm>
              <a:off x="914925" y="269761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5" name="x"/>
            <p:cNvPicPr>
              <a:picLocks noChangeAspect="1"/>
            </p:cNvPicPr>
            <p:nvPr userDrawn="1"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925" y="269761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6" name="sokinfo" hidden="1"/>
          <p:cNvGrpSpPr/>
          <p:nvPr userDrawn="1"/>
        </p:nvGrpSpPr>
        <p:grpSpPr>
          <a:xfrm>
            <a:off x="5328000" y="2661000"/>
            <a:ext cx="1536000" cy="1536000"/>
            <a:chOff x="4066652" y="2211582"/>
            <a:chExt cx="1152000" cy="1152000"/>
          </a:xfrm>
        </p:grpSpPr>
        <p:sp>
          <p:nvSpPr>
            <p:cNvPr id="187" name="sokinfo_hvit_sirkel"/>
            <p:cNvSpPr/>
            <p:nvPr userDrawn="1"/>
          </p:nvSpPr>
          <p:spPr>
            <a:xfrm>
              <a:off x="4066652" y="2211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8" name="sokinfo"/>
            <p:cNvPicPr>
              <a:picLocks noChangeAspect="1"/>
            </p:cNvPicPr>
            <p:nvPr userDrawn="1"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6652" y="2211582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9" name="hushjerte" hidden="1"/>
          <p:cNvGrpSpPr/>
          <p:nvPr userDrawn="1"/>
        </p:nvGrpSpPr>
        <p:grpSpPr>
          <a:xfrm>
            <a:off x="5328000" y="2661000"/>
            <a:ext cx="1536000" cy="1536000"/>
            <a:chOff x="4027032" y="2862085"/>
            <a:chExt cx="1152000" cy="1152000"/>
          </a:xfrm>
        </p:grpSpPr>
        <p:sp>
          <p:nvSpPr>
            <p:cNvPr id="190" name="hushjerte_hvit_sirkel"/>
            <p:cNvSpPr/>
            <p:nvPr userDrawn="1"/>
          </p:nvSpPr>
          <p:spPr>
            <a:xfrm>
              <a:off x="4027032" y="286208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1" name="hushjerte"/>
            <p:cNvPicPr>
              <a:picLocks noChangeAspect="1"/>
            </p:cNvPicPr>
            <p:nvPr userDrawn="1"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7032" y="2862085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2" name="brev" hidden="1"/>
          <p:cNvGrpSpPr/>
          <p:nvPr userDrawn="1"/>
        </p:nvGrpSpPr>
        <p:grpSpPr>
          <a:xfrm>
            <a:off x="5328000" y="2661000"/>
            <a:ext cx="1536000" cy="1536000"/>
            <a:chOff x="7403672" y="2200639"/>
            <a:chExt cx="1152000" cy="1152000"/>
          </a:xfrm>
        </p:grpSpPr>
        <p:sp>
          <p:nvSpPr>
            <p:cNvPr id="193" name="brev_hvit_sirkel"/>
            <p:cNvSpPr/>
            <p:nvPr userDrawn="1"/>
          </p:nvSpPr>
          <p:spPr>
            <a:xfrm>
              <a:off x="7403672" y="220063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4" name="brev"/>
            <p:cNvPicPr>
              <a:picLocks noChangeAspect="1"/>
            </p:cNvPicPr>
            <p:nvPr userDrawn="1"/>
          </p:nvPicPr>
          <p:blipFill>
            <a:blip r:embed="rId7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3672" y="220063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5" name="kleshenger" hidden="1"/>
          <p:cNvGrpSpPr/>
          <p:nvPr userDrawn="1"/>
        </p:nvGrpSpPr>
        <p:grpSpPr>
          <a:xfrm>
            <a:off x="5328000" y="2661000"/>
            <a:ext cx="1536000" cy="1536000"/>
            <a:chOff x="4237684" y="2307969"/>
            <a:chExt cx="1152000" cy="1152000"/>
          </a:xfrm>
        </p:grpSpPr>
        <p:sp>
          <p:nvSpPr>
            <p:cNvPr id="196" name="kleshenger_hvit_sirkel"/>
            <p:cNvSpPr/>
            <p:nvPr userDrawn="1"/>
          </p:nvSpPr>
          <p:spPr>
            <a:xfrm>
              <a:off x="4237684" y="2307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7" name="kleshenger"/>
            <p:cNvPicPr>
              <a:picLocks noChangeAspect="1"/>
            </p:cNvPicPr>
            <p:nvPr userDrawn="1"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7684" y="2307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8" name="facebook" hidden="1"/>
          <p:cNvGrpSpPr/>
          <p:nvPr userDrawn="1"/>
        </p:nvGrpSpPr>
        <p:grpSpPr>
          <a:xfrm>
            <a:off x="5328000" y="2661000"/>
            <a:ext cx="1536000" cy="1536000"/>
            <a:chOff x="6419720" y="1607520"/>
            <a:chExt cx="1152000" cy="1152000"/>
          </a:xfrm>
        </p:grpSpPr>
        <p:sp>
          <p:nvSpPr>
            <p:cNvPr id="199" name="facebook_hvit_sirkel"/>
            <p:cNvSpPr/>
            <p:nvPr userDrawn="1"/>
          </p:nvSpPr>
          <p:spPr>
            <a:xfrm>
              <a:off x="6419720" y="160752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0" name="facebook"/>
            <p:cNvPicPr>
              <a:picLocks noChangeAspect="1"/>
            </p:cNvPicPr>
            <p:nvPr userDrawn="1"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9720" y="160752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1" name="bok" hidden="1"/>
          <p:cNvGrpSpPr/>
          <p:nvPr userDrawn="1"/>
        </p:nvGrpSpPr>
        <p:grpSpPr>
          <a:xfrm>
            <a:off x="5328000" y="2661000"/>
            <a:ext cx="1536000" cy="1536000"/>
            <a:chOff x="3701841" y="2487144"/>
            <a:chExt cx="1152000" cy="1152000"/>
          </a:xfrm>
        </p:grpSpPr>
        <p:sp>
          <p:nvSpPr>
            <p:cNvPr id="202" name="bok_hvit_sirkel"/>
            <p:cNvSpPr/>
            <p:nvPr userDrawn="1"/>
          </p:nvSpPr>
          <p:spPr>
            <a:xfrm>
              <a:off x="3701841" y="248714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3" name="bok"/>
            <p:cNvPicPr>
              <a:picLocks noChangeAspect="1"/>
            </p:cNvPicPr>
            <p:nvPr userDrawn="1"/>
          </p:nvPicPr>
          <p:blipFill>
            <a:blip r:embed="rId7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1841" y="248714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4" name="skriver" hidden="1"/>
          <p:cNvGrpSpPr/>
          <p:nvPr userDrawn="1"/>
        </p:nvGrpSpPr>
        <p:grpSpPr>
          <a:xfrm>
            <a:off x="5328000" y="2661000"/>
            <a:ext cx="1536000" cy="1536000"/>
            <a:chOff x="4022380" y="2746102"/>
            <a:chExt cx="1152000" cy="1152000"/>
          </a:xfrm>
        </p:grpSpPr>
        <p:sp>
          <p:nvSpPr>
            <p:cNvPr id="205" name="skriver_hvit_sirkel"/>
            <p:cNvSpPr/>
            <p:nvPr userDrawn="1"/>
          </p:nvSpPr>
          <p:spPr>
            <a:xfrm>
              <a:off x="4022380" y="274610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6" name="skriver"/>
            <p:cNvPicPr>
              <a:picLocks noChangeAspect="1"/>
            </p:cNvPicPr>
            <p:nvPr userDrawn="1"/>
          </p:nvPicPr>
          <p:blipFill>
            <a:blip r:embed="rId7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2380" y="2746102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7" name="info" hidden="1"/>
          <p:cNvGrpSpPr/>
          <p:nvPr userDrawn="1"/>
        </p:nvGrpSpPr>
        <p:grpSpPr>
          <a:xfrm>
            <a:off x="5328000" y="2661000"/>
            <a:ext cx="1536000" cy="1536000"/>
            <a:chOff x="849849" y="2046176"/>
            <a:chExt cx="1152000" cy="1152000"/>
          </a:xfrm>
        </p:grpSpPr>
        <p:sp>
          <p:nvSpPr>
            <p:cNvPr id="208" name="info_hvit_sirkel"/>
            <p:cNvSpPr/>
            <p:nvPr userDrawn="1"/>
          </p:nvSpPr>
          <p:spPr>
            <a:xfrm>
              <a:off x="849849" y="204617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9" name="info"/>
            <p:cNvPicPr>
              <a:picLocks noChangeAspect="1"/>
            </p:cNvPicPr>
            <p:nvPr userDrawn="1"/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849" y="204617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0" name="firkantpil" hidden="1"/>
          <p:cNvGrpSpPr/>
          <p:nvPr userDrawn="1"/>
        </p:nvGrpSpPr>
        <p:grpSpPr>
          <a:xfrm>
            <a:off x="5328000" y="2661000"/>
            <a:ext cx="1536000" cy="1536000"/>
            <a:chOff x="336848" y="686455"/>
            <a:chExt cx="1152000" cy="1152000"/>
          </a:xfrm>
        </p:grpSpPr>
        <p:sp>
          <p:nvSpPr>
            <p:cNvPr id="211" name="firkantpil_hvit_sirkel"/>
            <p:cNvSpPr/>
            <p:nvPr userDrawn="1"/>
          </p:nvSpPr>
          <p:spPr>
            <a:xfrm>
              <a:off x="336848" y="68645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2" name="firkantpil"/>
            <p:cNvPicPr>
              <a:picLocks noChangeAspect="1"/>
            </p:cNvPicPr>
            <p:nvPr userDrawn="1"/>
          </p:nvPicPr>
          <p:blipFill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848" y="68645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3" name="vinduer" hidden="1"/>
          <p:cNvGrpSpPr/>
          <p:nvPr userDrawn="1"/>
        </p:nvGrpSpPr>
        <p:grpSpPr>
          <a:xfrm>
            <a:off x="5328000" y="2661000"/>
            <a:ext cx="1536000" cy="1536000"/>
            <a:chOff x="4370741" y="2188174"/>
            <a:chExt cx="1152000" cy="1152000"/>
          </a:xfrm>
        </p:grpSpPr>
        <p:sp>
          <p:nvSpPr>
            <p:cNvPr id="214" name="vinduer_hvit_sirkel"/>
            <p:cNvSpPr/>
            <p:nvPr userDrawn="1"/>
          </p:nvSpPr>
          <p:spPr>
            <a:xfrm>
              <a:off x="4370741" y="218817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5" name="vinduer"/>
            <p:cNvPicPr>
              <a:picLocks noChangeAspect="1"/>
            </p:cNvPicPr>
            <p:nvPr userDrawn="1"/>
          </p:nvPicPr>
          <p:blipFill>
            <a:blip r:embed="rId7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70741" y="218817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6" name="fotolinse" hidden="1"/>
          <p:cNvGrpSpPr/>
          <p:nvPr userDrawn="1"/>
        </p:nvGrpSpPr>
        <p:grpSpPr>
          <a:xfrm>
            <a:off x="5328000" y="2661000"/>
            <a:ext cx="1536000" cy="1536000"/>
            <a:chOff x="4241426" y="3156086"/>
            <a:chExt cx="1152000" cy="1152000"/>
          </a:xfrm>
        </p:grpSpPr>
        <p:sp>
          <p:nvSpPr>
            <p:cNvPr id="217" name="fotolinse_hvit_sirkel"/>
            <p:cNvSpPr/>
            <p:nvPr userDrawn="1"/>
          </p:nvSpPr>
          <p:spPr>
            <a:xfrm>
              <a:off x="4241426" y="315608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8" name="fotolinse"/>
            <p:cNvPicPr>
              <a:picLocks noChangeAspect="1"/>
            </p:cNvPicPr>
            <p:nvPr userDrawn="1"/>
          </p:nvPicPr>
          <p:blipFill>
            <a:blip r:embed="rId7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41426" y="315608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9" name="hustre" hidden="1"/>
          <p:cNvGrpSpPr/>
          <p:nvPr userDrawn="1"/>
        </p:nvGrpSpPr>
        <p:grpSpPr>
          <a:xfrm>
            <a:off x="5328000" y="2661000"/>
            <a:ext cx="1536000" cy="1536000"/>
            <a:chOff x="796779" y="2560824"/>
            <a:chExt cx="1152000" cy="1152000"/>
          </a:xfrm>
        </p:grpSpPr>
        <p:sp>
          <p:nvSpPr>
            <p:cNvPr id="220" name="hustre_hvit_sirkel"/>
            <p:cNvSpPr/>
            <p:nvPr userDrawn="1"/>
          </p:nvSpPr>
          <p:spPr>
            <a:xfrm>
              <a:off x="796779" y="256082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1" name="hustre"/>
            <p:cNvPicPr>
              <a:picLocks noChangeAspect="1"/>
            </p:cNvPicPr>
            <p:nvPr userDrawn="1"/>
          </p:nvPicPr>
          <p:blipFill>
            <a:blip r:embed="rId8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779" y="256082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2" name="husinfo" hidden="1"/>
          <p:cNvGrpSpPr/>
          <p:nvPr userDrawn="1"/>
        </p:nvGrpSpPr>
        <p:grpSpPr>
          <a:xfrm>
            <a:off x="5328000" y="2661000"/>
            <a:ext cx="1536000" cy="1536000"/>
            <a:chOff x="537023" y="3151993"/>
            <a:chExt cx="1152000" cy="1152000"/>
          </a:xfrm>
        </p:grpSpPr>
        <p:sp>
          <p:nvSpPr>
            <p:cNvPr id="223" name="husinfo_hvit_sirkel"/>
            <p:cNvSpPr/>
            <p:nvPr userDrawn="1"/>
          </p:nvSpPr>
          <p:spPr>
            <a:xfrm>
              <a:off x="537023" y="315199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4" name="husinfo"/>
            <p:cNvPicPr>
              <a:picLocks noChangeAspect="1"/>
            </p:cNvPicPr>
            <p:nvPr userDrawn="1"/>
          </p:nvPicPr>
          <p:blipFill>
            <a:blip r:embed="rId8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023" y="3151993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5" name="instagram" hidden="1"/>
          <p:cNvGrpSpPr/>
          <p:nvPr userDrawn="1"/>
        </p:nvGrpSpPr>
        <p:grpSpPr>
          <a:xfrm>
            <a:off x="5328000" y="2661000"/>
            <a:ext cx="1536000" cy="1536000"/>
            <a:chOff x="572934" y="2588086"/>
            <a:chExt cx="1152000" cy="1152000"/>
          </a:xfrm>
        </p:grpSpPr>
        <p:sp>
          <p:nvSpPr>
            <p:cNvPr id="226" name="instagram_hvit_sirkel"/>
            <p:cNvSpPr/>
            <p:nvPr userDrawn="1"/>
          </p:nvSpPr>
          <p:spPr>
            <a:xfrm>
              <a:off x="572934" y="258808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7" name="instagram"/>
            <p:cNvPicPr>
              <a:picLocks noChangeAspect="1"/>
            </p:cNvPicPr>
            <p:nvPr userDrawn="1"/>
          </p:nvPicPr>
          <p:blipFill>
            <a:blip r:embed="rId8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934" y="258808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8" name="kart" hidden="1"/>
          <p:cNvGrpSpPr/>
          <p:nvPr userDrawn="1"/>
        </p:nvGrpSpPr>
        <p:grpSpPr>
          <a:xfrm>
            <a:off x="5328000" y="2661000"/>
            <a:ext cx="1536000" cy="1536000"/>
            <a:chOff x="801075" y="2630073"/>
            <a:chExt cx="1152000" cy="1152000"/>
          </a:xfrm>
        </p:grpSpPr>
        <p:sp>
          <p:nvSpPr>
            <p:cNvPr id="229" name="kart_hvit_sirkel"/>
            <p:cNvSpPr/>
            <p:nvPr userDrawn="1"/>
          </p:nvSpPr>
          <p:spPr>
            <a:xfrm>
              <a:off x="801075" y="263007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0" name="kart"/>
            <p:cNvPicPr>
              <a:picLocks noChangeAspect="1"/>
            </p:cNvPicPr>
            <p:nvPr userDrawn="1"/>
          </p:nvPicPr>
          <p:blipFill>
            <a:blip r:embed="rId8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075" y="2630073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1" name="kasserolle" hidden="1"/>
          <p:cNvGrpSpPr/>
          <p:nvPr userDrawn="1"/>
        </p:nvGrpSpPr>
        <p:grpSpPr>
          <a:xfrm>
            <a:off x="5328000" y="2661000"/>
            <a:ext cx="1536000" cy="1536000"/>
            <a:chOff x="-26338" y="2973280"/>
            <a:chExt cx="1152000" cy="1152000"/>
          </a:xfrm>
        </p:grpSpPr>
        <p:sp>
          <p:nvSpPr>
            <p:cNvPr id="232" name="kasserolle_hvit_sirkel"/>
            <p:cNvSpPr/>
            <p:nvPr userDrawn="1"/>
          </p:nvSpPr>
          <p:spPr>
            <a:xfrm>
              <a:off x="-26338" y="297328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3" name="kasserolle"/>
            <p:cNvPicPr>
              <a:picLocks noChangeAspect="1"/>
            </p:cNvPicPr>
            <p:nvPr userDrawn="1"/>
          </p:nvPicPr>
          <p:blipFill>
            <a:blip r:embed="rId8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6338" y="297328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4" name="linkedin" hidden="1"/>
          <p:cNvGrpSpPr/>
          <p:nvPr userDrawn="1"/>
        </p:nvGrpSpPr>
        <p:grpSpPr>
          <a:xfrm>
            <a:off x="5328000" y="2661000"/>
            <a:ext cx="1536000" cy="1536000"/>
            <a:chOff x="1243043" y="2477205"/>
            <a:chExt cx="1152000" cy="1152000"/>
          </a:xfrm>
        </p:grpSpPr>
        <p:sp>
          <p:nvSpPr>
            <p:cNvPr id="235" name="linkedin_hvit_sirkel"/>
            <p:cNvSpPr/>
            <p:nvPr userDrawn="1"/>
          </p:nvSpPr>
          <p:spPr>
            <a:xfrm>
              <a:off x="1243043" y="247720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6" name="linkedin"/>
            <p:cNvPicPr>
              <a:picLocks noChangeAspect="1"/>
            </p:cNvPicPr>
            <p:nvPr userDrawn="1"/>
          </p:nvPicPr>
          <p:blipFill>
            <a:blip r:embed="rId8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3043" y="247720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7" name="megafon" hidden="1"/>
          <p:cNvGrpSpPr/>
          <p:nvPr userDrawn="1"/>
        </p:nvGrpSpPr>
        <p:grpSpPr>
          <a:xfrm>
            <a:off x="5328000" y="2661000"/>
            <a:ext cx="1536000" cy="1536000"/>
            <a:chOff x="638793" y="3878799"/>
            <a:chExt cx="1152000" cy="1152000"/>
          </a:xfrm>
        </p:grpSpPr>
        <p:sp>
          <p:nvSpPr>
            <p:cNvPr id="238" name="megafon_hvit_sirkel"/>
            <p:cNvSpPr/>
            <p:nvPr userDrawn="1"/>
          </p:nvSpPr>
          <p:spPr>
            <a:xfrm>
              <a:off x="638793" y="387879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9" name="megafon"/>
            <p:cNvPicPr>
              <a:picLocks noChangeAspect="1"/>
            </p:cNvPicPr>
            <p:nvPr userDrawn="1"/>
          </p:nvPicPr>
          <p:blipFill>
            <a:blip r:embed="rId8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93" y="387879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0" name="nabolag" hidden="1"/>
          <p:cNvGrpSpPr/>
          <p:nvPr userDrawn="1"/>
        </p:nvGrpSpPr>
        <p:grpSpPr>
          <a:xfrm>
            <a:off x="5328000" y="2661000"/>
            <a:ext cx="1536000" cy="1536000"/>
            <a:chOff x="688735" y="2612488"/>
            <a:chExt cx="1152000" cy="1152000"/>
          </a:xfrm>
        </p:grpSpPr>
        <p:sp>
          <p:nvSpPr>
            <p:cNvPr id="241" name="nabolag_hvit_sirkel"/>
            <p:cNvSpPr/>
            <p:nvPr userDrawn="1"/>
          </p:nvSpPr>
          <p:spPr>
            <a:xfrm>
              <a:off x="688735" y="261248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2" name="nabolag"/>
            <p:cNvPicPr>
              <a:picLocks noChangeAspect="1"/>
            </p:cNvPicPr>
            <p:nvPr userDrawn="1"/>
          </p:nvPicPr>
          <p:blipFill>
            <a:blip r:embed="rId8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735" y="261248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3" name="blyant" hidden="1"/>
          <p:cNvGrpSpPr/>
          <p:nvPr userDrawn="1"/>
        </p:nvGrpSpPr>
        <p:grpSpPr>
          <a:xfrm>
            <a:off x="5328000" y="2661000"/>
            <a:ext cx="1536000" cy="1536000"/>
            <a:chOff x="727381" y="2699229"/>
            <a:chExt cx="1152000" cy="1152000"/>
          </a:xfrm>
        </p:grpSpPr>
        <p:sp>
          <p:nvSpPr>
            <p:cNvPr id="244" name="blyant_hvit_sirkel"/>
            <p:cNvSpPr/>
            <p:nvPr userDrawn="1"/>
          </p:nvSpPr>
          <p:spPr>
            <a:xfrm>
              <a:off x="727381" y="269922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5" name="blyant"/>
            <p:cNvPicPr>
              <a:picLocks noChangeAspect="1"/>
            </p:cNvPicPr>
            <p:nvPr userDrawn="1"/>
          </p:nvPicPr>
          <p:blipFill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381" y="269922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6" name="planlosning" hidden="1"/>
          <p:cNvGrpSpPr/>
          <p:nvPr userDrawn="1"/>
        </p:nvGrpSpPr>
        <p:grpSpPr>
          <a:xfrm>
            <a:off x="5328000" y="2661000"/>
            <a:ext cx="1536000" cy="1536000"/>
            <a:chOff x="639984" y="2307969"/>
            <a:chExt cx="1152000" cy="1152000"/>
          </a:xfrm>
        </p:grpSpPr>
        <p:sp>
          <p:nvSpPr>
            <p:cNvPr id="247" name="planlosning_hvit_sirkel"/>
            <p:cNvSpPr/>
            <p:nvPr userDrawn="1"/>
          </p:nvSpPr>
          <p:spPr>
            <a:xfrm>
              <a:off x="639984" y="2307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8" name="planlosning"/>
            <p:cNvPicPr>
              <a:picLocks noChangeAspect="1"/>
            </p:cNvPicPr>
            <p:nvPr userDrawn="1"/>
          </p:nvPicPr>
          <p:blipFill>
            <a:blip r:embed="rId8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984" y="2307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9" name="person" hidden="1"/>
          <p:cNvGrpSpPr/>
          <p:nvPr userDrawn="1"/>
        </p:nvGrpSpPr>
        <p:grpSpPr>
          <a:xfrm>
            <a:off x="5328000" y="2661000"/>
            <a:ext cx="1536000" cy="1536000"/>
            <a:chOff x="2675344" y="3338498"/>
            <a:chExt cx="1152000" cy="1152000"/>
          </a:xfrm>
        </p:grpSpPr>
        <p:sp>
          <p:nvSpPr>
            <p:cNvPr id="250" name="person_hvit_sirkel"/>
            <p:cNvSpPr/>
            <p:nvPr userDrawn="1"/>
          </p:nvSpPr>
          <p:spPr>
            <a:xfrm>
              <a:off x="2675344" y="33384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1" name="person"/>
            <p:cNvPicPr>
              <a:picLocks noChangeAspect="1"/>
            </p:cNvPicPr>
            <p:nvPr userDrawn="1"/>
          </p:nvPicPr>
          <p:blipFill>
            <a:blip r:embed="rId9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5344" y="33384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2" name="kube" hidden="1"/>
          <p:cNvGrpSpPr/>
          <p:nvPr userDrawn="1"/>
        </p:nvGrpSpPr>
        <p:grpSpPr>
          <a:xfrm>
            <a:off x="5328000" y="2661000"/>
            <a:ext cx="1536000" cy="1536000"/>
            <a:chOff x="736192" y="2353689"/>
            <a:chExt cx="1152000" cy="1152000"/>
          </a:xfrm>
        </p:grpSpPr>
        <p:sp>
          <p:nvSpPr>
            <p:cNvPr id="253" name="kube_hvit_sirkel"/>
            <p:cNvSpPr/>
            <p:nvPr userDrawn="1"/>
          </p:nvSpPr>
          <p:spPr>
            <a:xfrm>
              <a:off x="736192" y="235368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4" name="kube"/>
            <p:cNvPicPr>
              <a:picLocks noChangeAspect="1"/>
            </p:cNvPicPr>
            <p:nvPr userDrawn="1"/>
          </p:nvPicPr>
          <p:blipFill>
            <a:blip r:embed="rId9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192" y="235368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5" name="hussolgt" hidden="1"/>
          <p:cNvGrpSpPr/>
          <p:nvPr userDrawn="1"/>
        </p:nvGrpSpPr>
        <p:grpSpPr>
          <a:xfrm>
            <a:off x="5328000" y="2661000"/>
            <a:ext cx="1536000" cy="1536000"/>
            <a:chOff x="3093763" y="1191752"/>
            <a:chExt cx="1152000" cy="1152000"/>
          </a:xfrm>
        </p:grpSpPr>
        <p:sp>
          <p:nvSpPr>
            <p:cNvPr id="256" name="hussolgt_hvit_sirkel"/>
            <p:cNvSpPr/>
            <p:nvPr userDrawn="1"/>
          </p:nvSpPr>
          <p:spPr>
            <a:xfrm>
              <a:off x="3093763" y="119175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7" name="hussolgt"/>
            <p:cNvPicPr>
              <a:picLocks noChangeAspect="1"/>
            </p:cNvPicPr>
            <p:nvPr userDrawn="1"/>
          </p:nvPicPr>
          <p:blipFill>
            <a:blip r:embed="rId9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763" y="1191752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8" name="vekkerklokke" hidden="1"/>
          <p:cNvGrpSpPr/>
          <p:nvPr userDrawn="1"/>
        </p:nvGrpSpPr>
        <p:grpSpPr>
          <a:xfrm>
            <a:off x="5328000" y="2661000"/>
            <a:ext cx="1536000" cy="1536000"/>
            <a:chOff x="1022402" y="2651248"/>
            <a:chExt cx="1152000" cy="1152000"/>
          </a:xfrm>
        </p:grpSpPr>
        <p:sp>
          <p:nvSpPr>
            <p:cNvPr id="259" name="vekkerklokke_hvit_sirkel"/>
            <p:cNvSpPr/>
            <p:nvPr userDrawn="1"/>
          </p:nvSpPr>
          <p:spPr>
            <a:xfrm>
              <a:off x="1022402" y="26512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0" name="vekkerklokke"/>
            <p:cNvPicPr>
              <a:picLocks noChangeAspect="1"/>
            </p:cNvPicPr>
            <p:nvPr userDrawn="1"/>
          </p:nvPicPr>
          <p:blipFill>
            <a:blip r:embed="rId9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2" y="26512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1" name="sofa" hidden="1"/>
          <p:cNvGrpSpPr/>
          <p:nvPr userDrawn="1"/>
        </p:nvGrpSpPr>
        <p:grpSpPr>
          <a:xfrm>
            <a:off x="5328000" y="2661000"/>
            <a:ext cx="1536000" cy="1536000"/>
            <a:chOff x="164237" y="3574670"/>
            <a:chExt cx="1152000" cy="1152000"/>
          </a:xfrm>
        </p:grpSpPr>
        <p:sp>
          <p:nvSpPr>
            <p:cNvPr id="262" name="sofa_hvit_sirkel"/>
            <p:cNvSpPr/>
            <p:nvPr userDrawn="1"/>
          </p:nvSpPr>
          <p:spPr>
            <a:xfrm>
              <a:off x="164237" y="357467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3" name="sofa"/>
            <p:cNvPicPr>
              <a:picLocks noChangeAspect="1"/>
            </p:cNvPicPr>
            <p:nvPr userDrawn="1"/>
          </p:nvPicPr>
          <p:blipFill>
            <a:blip r:embed="rId9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237" y="357467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4" name="hustilsalgs" hidden="1"/>
          <p:cNvGrpSpPr/>
          <p:nvPr userDrawn="1"/>
        </p:nvGrpSpPr>
        <p:grpSpPr>
          <a:xfrm>
            <a:off x="5328000" y="2661000"/>
            <a:ext cx="1536000" cy="1536000"/>
            <a:chOff x="1437661" y="3004110"/>
            <a:chExt cx="1152000" cy="1152000"/>
          </a:xfrm>
        </p:grpSpPr>
        <p:sp>
          <p:nvSpPr>
            <p:cNvPr id="265" name="hustilsalgs_hvit_sirkel"/>
            <p:cNvSpPr/>
            <p:nvPr userDrawn="1"/>
          </p:nvSpPr>
          <p:spPr>
            <a:xfrm>
              <a:off x="1437661" y="300411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6" name="hustilsalgs"/>
            <p:cNvPicPr>
              <a:picLocks noChangeAspect="1"/>
            </p:cNvPicPr>
            <p:nvPr userDrawn="1"/>
          </p:nvPicPr>
          <p:blipFill>
            <a:blip r:embed="rId9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7661" y="300411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7" name="blomst" hidden="1"/>
          <p:cNvGrpSpPr/>
          <p:nvPr userDrawn="1"/>
        </p:nvGrpSpPr>
        <p:grpSpPr>
          <a:xfrm>
            <a:off x="5328000" y="2661000"/>
            <a:ext cx="1536000" cy="1536000"/>
            <a:chOff x="7877450" y="1261535"/>
            <a:chExt cx="1152000" cy="1152000"/>
          </a:xfrm>
        </p:grpSpPr>
        <p:sp>
          <p:nvSpPr>
            <p:cNvPr id="268" name="blomst_hvit_sirkel"/>
            <p:cNvSpPr/>
            <p:nvPr userDrawn="1"/>
          </p:nvSpPr>
          <p:spPr>
            <a:xfrm>
              <a:off x="7877450" y="126153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9" name="blomst"/>
            <p:cNvPicPr>
              <a:picLocks noChangeAspect="1"/>
            </p:cNvPicPr>
            <p:nvPr userDrawn="1"/>
          </p:nvPicPr>
          <p:blipFill>
            <a:blip r:embed="rId9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7450" y="126153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0" name="twitter" hidden="1"/>
          <p:cNvGrpSpPr/>
          <p:nvPr userDrawn="1"/>
        </p:nvGrpSpPr>
        <p:grpSpPr>
          <a:xfrm>
            <a:off x="5328000" y="2661000"/>
            <a:ext cx="1536000" cy="1536000"/>
            <a:chOff x="1987425" y="3381465"/>
            <a:chExt cx="1152000" cy="1152000"/>
          </a:xfrm>
        </p:grpSpPr>
        <p:sp>
          <p:nvSpPr>
            <p:cNvPr id="271" name="twitter_hvit_sirkel"/>
            <p:cNvSpPr/>
            <p:nvPr userDrawn="1"/>
          </p:nvSpPr>
          <p:spPr>
            <a:xfrm>
              <a:off x="1987425" y="338146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2" name="twitter"/>
            <p:cNvPicPr>
              <a:picLocks noChangeAspect="1"/>
            </p:cNvPicPr>
            <p:nvPr userDrawn="1"/>
          </p:nvPicPr>
          <p:blipFill>
            <a:blip r:embed="rId9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7425" y="338146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3" name="tre" hidden="1"/>
          <p:cNvGrpSpPr/>
          <p:nvPr userDrawn="1"/>
        </p:nvGrpSpPr>
        <p:grpSpPr>
          <a:xfrm>
            <a:off x="5328000" y="2661000"/>
            <a:ext cx="1536000" cy="1536000"/>
            <a:chOff x="2684849" y="207254"/>
            <a:chExt cx="1152000" cy="1152000"/>
          </a:xfrm>
        </p:grpSpPr>
        <p:sp>
          <p:nvSpPr>
            <p:cNvPr id="274" name="tre_hvit_sirkel"/>
            <p:cNvSpPr/>
            <p:nvPr userDrawn="1"/>
          </p:nvSpPr>
          <p:spPr>
            <a:xfrm>
              <a:off x="2684849" y="20725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5" name="tre"/>
            <p:cNvPicPr>
              <a:picLocks noChangeAspect="1"/>
            </p:cNvPicPr>
            <p:nvPr userDrawn="1"/>
          </p:nvPicPr>
          <p:blipFill>
            <a:blip r:embed="rId9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4849" y="20725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6" name="binders" hidden="1"/>
          <p:cNvGrpSpPr/>
          <p:nvPr userDrawn="1"/>
        </p:nvGrpSpPr>
        <p:grpSpPr>
          <a:xfrm>
            <a:off x="5328000" y="2661000"/>
            <a:ext cx="1536000" cy="1536000"/>
            <a:chOff x="6152087" y="3892448"/>
            <a:chExt cx="1152000" cy="1152000"/>
          </a:xfrm>
        </p:grpSpPr>
        <p:sp>
          <p:nvSpPr>
            <p:cNvPr id="277" name="binders_hvit_sirkel"/>
            <p:cNvSpPr/>
            <p:nvPr userDrawn="1"/>
          </p:nvSpPr>
          <p:spPr>
            <a:xfrm>
              <a:off x="6152087" y="38924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8" name="binders"/>
            <p:cNvPicPr>
              <a:picLocks noChangeAspect="1"/>
            </p:cNvPicPr>
            <p:nvPr userDrawn="1"/>
          </p:nvPicPr>
          <p:blipFill>
            <a:blip r:embed="rId9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2087" y="38924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9" name="kr2" hidden="1"/>
          <p:cNvGrpSpPr/>
          <p:nvPr userDrawn="1"/>
        </p:nvGrpSpPr>
        <p:grpSpPr>
          <a:xfrm>
            <a:off x="5328000" y="2661000"/>
            <a:ext cx="1536000" cy="1536000"/>
            <a:chOff x="3902874" y="114426"/>
            <a:chExt cx="1152000" cy="1152000"/>
          </a:xfrm>
        </p:grpSpPr>
        <p:sp>
          <p:nvSpPr>
            <p:cNvPr id="280" name="kr2_hvit_sirkel"/>
            <p:cNvSpPr/>
            <p:nvPr userDrawn="1"/>
          </p:nvSpPr>
          <p:spPr>
            <a:xfrm>
              <a:off x="3902874" y="11442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1" name="kr2"/>
            <p:cNvPicPr>
              <a:picLocks noChangeAspect="1"/>
            </p:cNvPicPr>
            <p:nvPr userDrawn="1"/>
          </p:nvPicPr>
          <p:blipFill>
            <a:blip r:embed="rId10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02874" y="11442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2" name="dor" hidden="1"/>
          <p:cNvGrpSpPr/>
          <p:nvPr userDrawn="1"/>
        </p:nvGrpSpPr>
        <p:grpSpPr>
          <a:xfrm>
            <a:off x="5328000" y="2661000"/>
            <a:ext cx="1536000" cy="1536000"/>
            <a:chOff x="835560" y="2399834"/>
            <a:chExt cx="1152000" cy="1152000"/>
          </a:xfrm>
        </p:grpSpPr>
        <p:sp>
          <p:nvSpPr>
            <p:cNvPr id="283" name="dor_hvit_sirkel"/>
            <p:cNvSpPr/>
            <p:nvPr userDrawn="1"/>
          </p:nvSpPr>
          <p:spPr>
            <a:xfrm>
              <a:off x="835560" y="239983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4" name="dor"/>
            <p:cNvPicPr>
              <a:picLocks noChangeAspect="1"/>
            </p:cNvPicPr>
            <p:nvPr userDrawn="1"/>
          </p:nvPicPr>
          <p:blipFill>
            <a:blip r:embed="rId10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560" y="239983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5" name="youtube" hidden="1"/>
          <p:cNvGrpSpPr/>
          <p:nvPr userDrawn="1"/>
        </p:nvGrpSpPr>
        <p:grpSpPr>
          <a:xfrm>
            <a:off x="5328000" y="2661000"/>
            <a:ext cx="1536000" cy="1536000"/>
            <a:chOff x="5504844" y="1707654"/>
            <a:chExt cx="1152000" cy="1152000"/>
          </a:xfrm>
        </p:grpSpPr>
        <p:sp>
          <p:nvSpPr>
            <p:cNvPr id="286" name="youtube_hvit_sirkel"/>
            <p:cNvSpPr/>
            <p:nvPr userDrawn="1"/>
          </p:nvSpPr>
          <p:spPr>
            <a:xfrm>
              <a:off x="5504844" y="170765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7" name="youtube"/>
            <p:cNvPicPr>
              <a:picLocks noChangeAspect="1"/>
            </p:cNvPicPr>
            <p:nvPr userDrawn="1"/>
          </p:nvPicPr>
          <p:blipFill>
            <a:blip r:embed="rId10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4844" y="170765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8" name="gravemaskin" hidden="1"/>
          <p:cNvGrpSpPr/>
          <p:nvPr userDrawn="1"/>
        </p:nvGrpSpPr>
        <p:grpSpPr>
          <a:xfrm>
            <a:off x="5328000" y="2661000"/>
            <a:ext cx="1536000" cy="1536000"/>
            <a:chOff x="5240840" y="3774938"/>
            <a:chExt cx="1152000" cy="1152000"/>
          </a:xfrm>
        </p:grpSpPr>
        <p:sp>
          <p:nvSpPr>
            <p:cNvPr id="289" name="gravemaskin_hvit_sirkel"/>
            <p:cNvSpPr/>
            <p:nvPr userDrawn="1"/>
          </p:nvSpPr>
          <p:spPr>
            <a:xfrm>
              <a:off x="5240840" y="377493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0" name="gravemaskin"/>
            <p:cNvPicPr>
              <a:picLocks noChangeAspect="1"/>
            </p:cNvPicPr>
            <p:nvPr userDrawn="1"/>
          </p:nvPicPr>
          <p:blipFill>
            <a:blip r:embed="rId10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0840" y="377493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1" name="moped" hidden="1"/>
          <p:cNvGrpSpPr/>
          <p:nvPr userDrawn="1"/>
        </p:nvGrpSpPr>
        <p:grpSpPr>
          <a:xfrm>
            <a:off x="5328000" y="2661000"/>
            <a:ext cx="1536000" cy="1536000"/>
            <a:chOff x="249750" y="2725189"/>
            <a:chExt cx="1152000" cy="1152000"/>
          </a:xfrm>
        </p:grpSpPr>
        <p:sp>
          <p:nvSpPr>
            <p:cNvPr id="292" name="moped_hvit_sirkel"/>
            <p:cNvSpPr/>
            <p:nvPr userDrawn="1"/>
          </p:nvSpPr>
          <p:spPr>
            <a:xfrm>
              <a:off x="249750" y="272518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3" name="moped"/>
            <p:cNvPicPr>
              <a:picLocks noChangeAspect="1"/>
            </p:cNvPicPr>
            <p:nvPr userDrawn="1"/>
          </p:nvPicPr>
          <p:blipFill>
            <a:blip r:embed="rId10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750" y="272518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4" name="baatLiten" hidden="1"/>
          <p:cNvGrpSpPr/>
          <p:nvPr userDrawn="1"/>
        </p:nvGrpSpPr>
        <p:grpSpPr>
          <a:xfrm>
            <a:off x="5328000" y="2661000"/>
            <a:ext cx="1536000" cy="1536000"/>
            <a:chOff x="550251" y="2336104"/>
            <a:chExt cx="1152000" cy="1152000"/>
          </a:xfrm>
        </p:grpSpPr>
        <p:sp>
          <p:nvSpPr>
            <p:cNvPr id="295" name="baatLiten_hvit_sirkel"/>
            <p:cNvSpPr/>
            <p:nvPr userDrawn="1"/>
          </p:nvSpPr>
          <p:spPr>
            <a:xfrm>
              <a:off x="550251" y="233610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6" name="baatLiten"/>
            <p:cNvPicPr>
              <a:picLocks noChangeAspect="1"/>
            </p:cNvPicPr>
            <p:nvPr userDrawn="1"/>
          </p:nvPicPr>
          <p:blipFill>
            <a:blip r:embed="rId10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251" y="233610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7" name="baatstor" hidden="1"/>
          <p:cNvGrpSpPr/>
          <p:nvPr userDrawn="1"/>
        </p:nvGrpSpPr>
        <p:grpSpPr>
          <a:xfrm>
            <a:off x="5328000" y="2661000"/>
            <a:ext cx="1536000" cy="1536000"/>
            <a:chOff x="2810989" y="3621307"/>
            <a:chExt cx="1152000" cy="1152000"/>
          </a:xfrm>
        </p:grpSpPr>
        <p:sp>
          <p:nvSpPr>
            <p:cNvPr id="298" name="baatstor_hvit_sirkel"/>
            <p:cNvSpPr/>
            <p:nvPr userDrawn="1"/>
          </p:nvSpPr>
          <p:spPr>
            <a:xfrm>
              <a:off x="2810989" y="3621307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9" name="baatstor"/>
            <p:cNvPicPr>
              <a:picLocks noChangeAspect="1"/>
            </p:cNvPicPr>
            <p:nvPr userDrawn="1"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0989" y="3621307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0" name="kaffe" hidden="1"/>
          <p:cNvGrpSpPr/>
          <p:nvPr userDrawn="1"/>
        </p:nvGrpSpPr>
        <p:grpSpPr>
          <a:xfrm>
            <a:off x="5328000" y="2661000"/>
            <a:ext cx="1536000" cy="1536000"/>
            <a:chOff x="5141046" y="61912"/>
            <a:chExt cx="1152000" cy="1152000"/>
          </a:xfrm>
        </p:grpSpPr>
        <p:sp>
          <p:nvSpPr>
            <p:cNvPr id="301" name="kaffekopp_hvit_sirkel"/>
            <p:cNvSpPr/>
            <p:nvPr userDrawn="1"/>
          </p:nvSpPr>
          <p:spPr>
            <a:xfrm>
              <a:off x="5141046" y="6191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2" name="kaffekopp"/>
            <p:cNvPicPr>
              <a:picLocks noChangeAspect="1"/>
            </p:cNvPicPr>
            <p:nvPr userDrawn="1"/>
          </p:nvPicPr>
          <p:blipFill>
            <a:blip r:embed="rId10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1046" y="6191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3" name="bobil" hidden="1"/>
          <p:cNvGrpSpPr/>
          <p:nvPr userDrawn="1"/>
        </p:nvGrpSpPr>
        <p:grpSpPr>
          <a:xfrm>
            <a:off x="5328000" y="2661000"/>
            <a:ext cx="1536000" cy="1536000"/>
            <a:chOff x="174533" y="3621307"/>
            <a:chExt cx="1152000" cy="1152000"/>
          </a:xfrm>
        </p:grpSpPr>
        <p:sp>
          <p:nvSpPr>
            <p:cNvPr id="304" name="bobil_hvit_sirkel"/>
            <p:cNvSpPr/>
            <p:nvPr userDrawn="1"/>
          </p:nvSpPr>
          <p:spPr>
            <a:xfrm>
              <a:off x="174533" y="3621307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5" name="bobil"/>
            <p:cNvPicPr>
              <a:picLocks noChangeAspect="1"/>
            </p:cNvPicPr>
            <p:nvPr userDrawn="1"/>
          </p:nvPicPr>
          <p:blipFill>
            <a:blip r:embed="rId10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533" y="3621307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6" name="campingvogn" hidden="1"/>
          <p:cNvGrpSpPr/>
          <p:nvPr userDrawn="1"/>
        </p:nvGrpSpPr>
        <p:grpSpPr>
          <a:xfrm>
            <a:off x="5328000" y="2661000"/>
            <a:ext cx="1536000" cy="1536000"/>
            <a:chOff x="1028665" y="267558"/>
            <a:chExt cx="1152000" cy="1152000"/>
          </a:xfrm>
        </p:grpSpPr>
        <p:sp>
          <p:nvSpPr>
            <p:cNvPr id="307" name="campingvogn_hvit_sirkel"/>
            <p:cNvSpPr/>
            <p:nvPr userDrawn="1"/>
          </p:nvSpPr>
          <p:spPr>
            <a:xfrm>
              <a:off x="1028665" y="26755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8" name="campingvogn"/>
            <p:cNvPicPr>
              <a:picLocks noChangeAspect="1"/>
            </p:cNvPicPr>
            <p:nvPr userDrawn="1"/>
          </p:nvPicPr>
          <p:blipFill>
            <a:blip r:embed="rId10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8665" y="26755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9" name="knivgaffel" hidden="1"/>
          <p:cNvGrpSpPr/>
          <p:nvPr userDrawn="1"/>
        </p:nvGrpSpPr>
        <p:grpSpPr>
          <a:xfrm>
            <a:off x="5328000" y="2661000"/>
            <a:ext cx="1536000" cy="1536000"/>
            <a:chOff x="912848" y="2858969"/>
            <a:chExt cx="1152000" cy="1152000"/>
          </a:xfrm>
        </p:grpSpPr>
        <p:sp>
          <p:nvSpPr>
            <p:cNvPr id="310" name="knivgaffel_hvit_sirkel"/>
            <p:cNvSpPr/>
            <p:nvPr userDrawn="1"/>
          </p:nvSpPr>
          <p:spPr>
            <a:xfrm>
              <a:off x="912848" y="2858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1" name="knivgaffel"/>
            <p:cNvPicPr>
              <a:picLocks noChangeAspect="1"/>
            </p:cNvPicPr>
            <p:nvPr userDrawn="1"/>
          </p:nvPicPr>
          <p:blipFill>
            <a:blip r:embed="rId1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848" y="2858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2" name="mannmedslips" hidden="1"/>
          <p:cNvGrpSpPr/>
          <p:nvPr userDrawn="1"/>
        </p:nvGrpSpPr>
        <p:grpSpPr>
          <a:xfrm>
            <a:off x="5328000" y="2661000"/>
            <a:ext cx="1536000" cy="1536000"/>
            <a:chOff x="177956" y="1059582"/>
            <a:chExt cx="1152000" cy="1152000"/>
          </a:xfrm>
        </p:grpSpPr>
        <p:sp>
          <p:nvSpPr>
            <p:cNvPr id="313" name="mannmedslips_hvit_sirkel"/>
            <p:cNvSpPr/>
            <p:nvPr userDrawn="1"/>
          </p:nvSpPr>
          <p:spPr>
            <a:xfrm>
              <a:off x="177956" y="1059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4" name="mannmedslips"/>
            <p:cNvPicPr>
              <a:picLocks noChangeAspect="1"/>
            </p:cNvPicPr>
            <p:nvPr userDrawn="1"/>
          </p:nvPicPr>
          <p:blipFill>
            <a:blip r:embed="rId1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956" y="105958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5" name="wifi" hidden="1"/>
          <p:cNvGrpSpPr/>
          <p:nvPr userDrawn="1"/>
        </p:nvGrpSpPr>
        <p:grpSpPr>
          <a:xfrm>
            <a:off x="5328000" y="2661000"/>
            <a:ext cx="1536000" cy="1536000"/>
            <a:chOff x="3742406" y="3844742"/>
            <a:chExt cx="1152000" cy="1152000"/>
          </a:xfrm>
        </p:grpSpPr>
        <p:sp>
          <p:nvSpPr>
            <p:cNvPr id="316" name="wifi_hvit_sirkel"/>
            <p:cNvSpPr/>
            <p:nvPr userDrawn="1"/>
          </p:nvSpPr>
          <p:spPr>
            <a:xfrm>
              <a:off x="3742406" y="384474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7" name="wifi"/>
            <p:cNvPicPr>
              <a:picLocks noChangeAspect="1"/>
            </p:cNvPicPr>
            <p:nvPr userDrawn="1"/>
          </p:nvPicPr>
          <p:blipFill>
            <a:blip r:embed="rId1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2406" y="384474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8" name="timeglass" hidden="1"/>
          <p:cNvGrpSpPr/>
          <p:nvPr userDrawn="1"/>
        </p:nvGrpSpPr>
        <p:grpSpPr>
          <a:xfrm>
            <a:off x="5328000" y="2661000"/>
            <a:ext cx="1536000" cy="1536000"/>
            <a:chOff x="6855658" y="529964"/>
            <a:chExt cx="1152000" cy="1152000"/>
          </a:xfrm>
        </p:grpSpPr>
        <p:sp>
          <p:nvSpPr>
            <p:cNvPr id="319" name="timeglass_hvit_sirkel"/>
            <p:cNvSpPr/>
            <p:nvPr userDrawn="1"/>
          </p:nvSpPr>
          <p:spPr>
            <a:xfrm>
              <a:off x="6855658" y="52996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0" name="timeglass"/>
            <p:cNvPicPr>
              <a:picLocks noChangeAspect="1"/>
            </p:cNvPicPr>
            <p:nvPr userDrawn="1"/>
          </p:nvPicPr>
          <p:blipFill>
            <a:blip r:embed="rId1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5658" y="52996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1" name="laptop" hidden="1"/>
          <p:cNvGrpSpPr/>
          <p:nvPr userDrawn="1"/>
        </p:nvGrpSpPr>
        <p:grpSpPr>
          <a:xfrm>
            <a:off x="5328000" y="2661000"/>
            <a:ext cx="1536000" cy="1536000"/>
            <a:chOff x="1369992" y="3991500"/>
            <a:chExt cx="1152000" cy="1152000"/>
          </a:xfrm>
        </p:grpSpPr>
        <p:sp>
          <p:nvSpPr>
            <p:cNvPr id="322" name="laptop_hvit_sirkel"/>
            <p:cNvSpPr/>
            <p:nvPr userDrawn="1"/>
          </p:nvSpPr>
          <p:spPr>
            <a:xfrm>
              <a:off x="1369992" y="399150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3" name="laptop"/>
            <p:cNvPicPr>
              <a:picLocks noChangeAspect="1"/>
            </p:cNvPicPr>
            <p:nvPr userDrawn="1"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9992" y="3991500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4" name="lastebil" hidden="1"/>
          <p:cNvGrpSpPr/>
          <p:nvPr userDrawn="1"/>
        </p:nvGrpSpPr>
        <p:grpSpPr>
          <a:xfrm>
            <a:off x="5328000" y="2661000"/>
            <a:ext cx="1536000" cy="1536000"/>
            <a:chOff x="7747242" y="433051"/>
            <a:chExt cx="1152000" cy="1152000"/>
          </a:xfrm>
        </p:grpSpPr>
        <p:sp>
          <p:nvSpPr>
            <p:cNvPr id="325" name="lastebil_hvit_sirkel"/>
            <p:cNvSpPr/>
            <p:nvPr userDrawn="1"/>
          </p:nvSpPr>
          <p:spPr>
            <a:xfrm>
              <a:off x="7747242" y="433051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6" name="lastebil"/>
            <p:cNvPicPr>
              <a:picLocks noChangeAspect="1"/>
            </p:cNvPicPr>
            <p:nvPr userDrawn="1"/>
          </p:nvPicPr>
          <p:blipFill>
            <a:blip r:embed="rId1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7242" y="433051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7" name="lampe" hidden="1"/>
          <p:cNvGrpSpPr/>
          <p:nvPr userDrawn="1"/>
        </p:nvGrpSpPr>
        <p:grpSpPr>
          <a:xfrm>
            <a:off x="5328000" y="2661000"/>
            <a:ext cx="1536000" cy="1536000"/>
            <a:chOff x="-23783" y="339502"/>
            <a:chExt cx="1152000" cy="1152000"/>
          </a:xfrm>
        </p:grpSpPr>
        <p:sp>
          <p:nvSpPr>
            <p:cNvPr id="328" name="lampe_hvit_sirkel"/>
            <p:cNvSpPr/>
            <p:nvPr userDrawn="1"/>
          </p:nvSpPr>
          <p:spPr>
            <a:xfrm>
              <a:off x="-23783" y="33950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9" name="lampe"/>
            <p:cNvPicPr>
              <a:picLocks noChangeAspect="1"/>
            </p:cNvPicPr>
            <p:nvPr userDrawn="1"/>
          </p:nvPicPr>
          <p:blipFill>
            <a:blip r:embed="rId1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3783" y="33950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0" name="motorsykkel" hidden="1"/>
          <p:cNvGrpSpPr/>
          <p:nvPr userDrawn="1"/>
        </p:nvGrpSpPr>
        <p:grpSpPr>
          <a:xfrm>
            <a:off x="5328000" y="2661000"/>
            <a:ext cx="1536000" cy="1536000"/>
            <a:chOff x="7217672" y="3316448"/>
            <a:chExt cx="1152000" cy="1152000"/>
          </a:xfrm>
        </p:grpSpPr>
        <p:sp>
          <p:nvSpPr>
            <p:cNvPr id="331" name="motorsykkel_hvit_sirkel"/>
            <p:cNvSpPr/>
            <p:nvPr userDrawn="1"/>
          </p:nvSpPr>
          <p:spPr>
            <a:xfrm>
              <a:off x="7217672" y="33164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2" name="motorsykkel"/>
            <p:cNvPicPr>
              <a:picLocks noChangeAspect="1"/>
            </p:cNvPicPr>
            <p:nvPr userDrawn="1"/>
          </p:nvPicPr>
          <p:blipFill>
            <a:blip r:embed="rId1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672" y="33164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3" name="nokkelhull" hidden="1"/>
          <p:cNvGrpSpPr/>
          <p:nvPr userDrawn="1"/>
        </p:nvGrpSpPr>
        <p:grpSpPr>
          <a:xfrm>
            <a:off x="5328000" y="2661000"/>
            <a:ext cx="1536000" cy="1536000"/>
            <a:chOff x="7334464" y="2478922"/>
            <a:chExt cx="1152000" cy="1152000"/>
          </a:xfrm>
        </p:grpSpPr>
        <p:sp>
          <p:nvSpPr>
            <p:cNvPr id="334" name="nokkelhull_hvit_sirkel"/>
            <p:cNvSpPr/>
            <p:nvPr userDrawn="1"/>
          </p:nvSpPr>
          <p:spPr>
            <a:xfrm>
              <a:off x="7334464" y="247892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5" name="nokkelhull"/>
            <p:cNvPicPr>
              <a:picLocks noChangeAspect="1"/>
            </p:cNvPicPr>
            <p:nvPr userDrawn="1"/>
          </p:nvPicPr>
          <p:blipFill>
            <a:blip r:embed="rId1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4464" y="247892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6" name="prosent" hidden="1"/>
          <p:cNvGrpSpPr/>
          <p:nvPr userDrawn="1"/>
        </p:nvGrpSpPr>
        <p:grpSpPr>
          <a:xfrm>
            <a:off x="5328000" y="2661000"/>
            <a:ext cx="1536000" cy="1536000"/>
            <a:chOff x="1076833" y="3549363"/>
            <a:chExt cx="1152000" cy="1152000"/>
          </a:xfrm>
        </p:grpSpPr>
        <p:sp>
          <p:nvSpPr>
            <p:cNvPr id="337" name="prosent_hvit_sirkel"/>
            <p:cNvSpPr/>
            <p:nvPr userDrawn="1"/>
          </p:nvSpPr>
          <p:spPr>
            <a:xfrm>
              <a:off x="1076833" y="354936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8" name="prosent"/>
            <p:cNvPicPr>
              <a:picLocks noChangeAspect="1"/>
            </p:cNvPicPr>
            <p:nvPr userDrawn="1"/>
          </p:nvPicPr>
          <p:blipFill>
            <a:blip r:embed="rId1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833" y="3549363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9" name="skiftnokkel" hidden="1"/>
          <p:cNvGrpSpPr/>
          <p:nvPr userDrawn="1"/>
        </p:nvGrpSpPr>
        <p:grpSpPr>
          <a:xfrm>
            <a:off x="5328000" y="2661000"/>
            <a:ext cx="1536000" cy="1536000"/>
            <a:chOff x="4500056" y="3538094"/>
            <a:chExt cx="1152000" cy="1152000"/>
          </a:xfrm>
        </p:grpSpPr>
        <p:sp>
          <p:nvSpPr>
            <p:cNvPr id="340" name="skiftnokkel_hvit_sirkel"/>
            <p:cNvSpPr/>
            <p:nvPr userDrawn="1"/>
          </p:nvSpPr>
          <p:spPr>
            <a:xfrm>
              <a:off x="4500056" y="353809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1" name="skiftnokkel"/>
            <p:cNvPicPr>
              <a:picLocks noChangeAspect="1"/>
            </p:cNvPicPr>
            <p:nvPr userDrawn="1"/>
          </p:nvPicPr>
          <p:blipFill>
            <a:blip r:embed="rId1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0056" y="353809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2" name="snoscooter" hidden="1"/>
          <p:cNvGrpSpPr/>
          <p:nvPr userDrawn="1"/>
        </p:nvGrpSpPr>
        <p:grpSpPr>
          <a:xfrm>
            <a:off x="5328000" y="2661000"/>
            <a:ext cx="1536000" cy="1536000"/>
            <a:chOff x="549032" y="3006993"/>
            <a:chExt cx="1152000" cy="1152000"/>
          </a:xfrm>
        </p:grpSpPr>
        <p:sp>
          <p:nvSpPr>
            <p:cNvPr id="343" name="snoscooter_hvit_sirkel"/>
            <p:cNvSpPr/>
            <p:nvPr userDrawn="1"/>
          </p:nvSpPr>
          <p:spPr>
            <a:xfrm>
              <a:off x="549032" y="300699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4" name="snoscooter"/>
            <p:cNvPicPr>
              <a:picLocks noChangeAspect="1"/>
            </p:cNvPicPr>
            <p:nvPr userDrawn="1"/>
          </p:nvPicPr>
          <p:blipFill>
            <a:blip r:embed="rId1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032" y="3006993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5" name="studenthatt" hidden="1"/>
          <p:cNvGrpSpPr/>
          <p:nvPr userDrawn="1"/>
        </p:nvGrpSpPr>
        <p:grpSpPr>
          <a:xfrm>
            <a:off x="5328000" y="2661000"/>
            <a:ext cx="1536000" cy="1536000"/>
            <a:chOff x="4283968" y="2694914"/>
            <a:chExt cx="1152000" cy="1152000"/>
          </a:xfrm>
        </p:grpSpPr>
        <p:sp>
          <p:nvSpPr>
            <p:cNvPr id="346" name="studenthatt_hvit_sirkel"/>
            <p:cNvSpPr/>
            <p:nvPr userDrawn="1"/>
          </p:nvSpPr>
          <p:spPr>
            <a:xfrm>
              <a:off x="4283968" y="269491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7" name="studenthatt"/>
            <p:cNvPicPr>
              <a:picLocks noChangeAspect="1"/>
            </p:cNvPicPr>
            <p:nvPr userDrawn="1"/>
          </p:nvPicPr>
          <p:blipFill>
            <a:blip r:embed="rId1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3968" y="269491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8" name="traktor" hidden="1"/>
          <p:cNvGrpSpPr/>
          <p:nvPr userDrawn="1"/>
        </p:nvGrpSpPr>
        <p:grpSpPr>
          <a:xfrm>
            <a:off x="5328000" y="2661000"/>
            <a:ext cx="1536000" cy="1536000"/>
            <a:chOff x="5900888" y="3054922"/>
            <a:chExt cx="1152000" cy="1152000"/>
          </a:xfrm>
        </p:grpSpPr>
        <p:sp>
          <p:nvSpPr>
            <p:cNvPr id="349" name="traktor_hvit_sirkel"/>
            <p:cNvSpPr/>
            <p:nvPr userDrawn="1"/>
          </p:nvSpPr>
          <p:spPr>
            <a:xfrm>
              <a:off x="5900888" y="305492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0" name="traktor"/>
            <p:cNvPicPr>
              <a:picLocks noChangeAspect="1"/>
            </p:cNvPicPr>
            <p:nvPr userDrawn="1"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0888" y="305492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1" name="truck" hidden="1"/>
          <p:cNvGrpSpPr/>
          <p:nvPr userDrawn="1"/>
        </p:nvGrpSpPr>
        <p:grpSpPr>
          <a:xfrm>
            <a:off x="5328000" y="2661000"/>
            <a:ext cx="1536000" cy="1536000"/>
            <a:chOff x="6725720" y="1779598"/>
            <a:chExt cx="1152000" cy="1152000"/>
          </a:xfrm>
        </p:grpSpPr>
        <p:sp>
          <p:nvSpPr>
            <p:cNvPr id="352" name="truck_hvit_sirkel"/>
            <p:cNvSpPr/>
            <p:nvPr userDrawn="1"/>
          </p:nvSpPr>
          <p:spPr>
            <a:xfrm>
              <a:off x="6725720" y="17795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3" name="truck"/>
            <p:cNvPicPr>
              <a:picLocks noChangeAspect="1"/>
            </p:cNvPicPr>
            <p:nvPr userDrawn="1"/>
          </p:nvPicPr>
          <p:blipFill>
            <a:blip r:embed="rId1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5720" y="17795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4" name="varebil" hidden="1"/>
          <p:cNvGrpSpPr/>
          <p:nvPr userDrawn="1"/>
        </p:nvGrpSpPr>
        <p:grpSpPr>
          <a:xfrm>
            <a:off x="5328000" y="2661000"/>
            <a:ext cx="1536000" cy="1536000"/>
            <a:chOff x="5076056" y="2334906"/>
            <a:chExt cx="1152000" cy="1152000"/>
          </a:xfrm>
        </p:grpSpPr>
        <p:sp>
          <p:nvSpPr>
            <p:cNvPr id="355" name="varebil_hvit_sirkel"/>
            <p:cNvSpPr/>
            <p:nvPr userDrawn="1"/>
          </p:nvSpPr>
          <p:spPr>
            <a:xfrm>
              <a:off x="5076056" y="233490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6" name="varebil"/>
            <p:cNvPicPr>
              <a:picLocks noChangeAspect="1"/>
            </p:cNvPicPr>
            <p:nvPr userDrawn="1"/>
          </p:nvPicPr>
          <p:blipFill>
            <a:blip r:embed="rId1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6056" y="2334906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7" name="skjold" hidden="1"/>
          <p:cNvGrpSpPr/>
          <p:nvPr userDrawn="1"/>
        </p:nvGrpSpPr>
        <p:grpSpPr>
          <a:xfrm>
            <a:off x="5328000" y="2661000"/>
            <a:ext cx="1536000" cy="1536000"/>
            <a:chOff x="5868144" y="1059582"/>
            <a:chExt cx="1152000" cy="1152000"/>
          </a:xfrm>
        </p:grpSpPr>
        <p:sp>
          <p:nvSpPr>
            <p:cNvPr id="358" name="skjold_hvit_sirkel"/>
            <p:cNvSpPr/>
            <p:nvPr userDrawn="1"/>
          </p:nvSpPr>
          <p:spPr>
            <a:xfrm>
              <a:off x="5868144" y="1059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9" name="skjold"/>
            <p:cNvPicPr>
              <a:picLocks noChangeAspect="1"/>
            </p:cNvPicPr>
            <p:nvPr userDrawn="1"/>
          </p:nvPicPr>
          <p:blipFill>
            <a:blip r:embed="rId1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8144" y="1059582"/>
              <a:ext cx="1152000" cy="1152000"/>
            </a:xfrm>
            <a:prstGeom prst="rect">
              <a:avLst/>
            </a:prstGeom>
          </p:spPr>
        </p:pic>
      </p:grpSp>
      <p:pic>
        <p:nvPicPr>
          <p:cNvPr id="360" name="Picture 359" descr="rgb_SB1_BV_verti_pos.png"/>
          <p:cNvPicPr>
            <a:picLocks noChangeAspect="1"/>
          </p:cNvPicPr>
          <p:nvPr userDrawn="1"/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8220407"/>
            <a:ext cx="2549536" cy="73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8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726" r:id="rId29"/>
  </p:sldLayoutIdLst>
  <p:hf hdr="0" ftr="0"/>
  <p:txStyles>
    <p:titleStyle>
      <a:lvl1pPr algn="l" defTabSz="456979" rtl="0" eaLnBrk="1" latinLnBrk="0" hangingPunct="1">
        <a:lnSpc>
          <a:spcPct val="80000"/>
        </a:lnSpc>
        <a:spcBef>
          <a:spcPct val="0"/>
        </a:spcBef>
        <a:buNone/>
        <a:defRPr sz="4533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449783" indent="-449783" algn="l" defTabSz="456979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rial" panose="020B0604020202020204" pitchFamily="34" charset="0"/>
        <a:buChar char="•"/>
        <a:defRPr sz="3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899566" indent="-449783" algn="l" defTabSz="456979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Font typeface="Arial" panose="020B0604020202020204" pitchFamily="34" charset="0"/>
        <a:buChar char="‒"/>
        <a:defRPr sz="28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349349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24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799130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20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2248912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733" kern="1200">
          <a:solidFill>
            <a:schemeClr val="accent4"/>
          </a:solidFill>
          <a:latin typeface="+mn-lt"/>
          <a:ea typeface="+mn-ea"/>
          <a:cs typeface="+mn-cs"/>
        </a:defRPr>
      </a:lvl5pPr>
      <a:lvl6pPr marL="1256694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183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713670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161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2849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56979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47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1395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446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370936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42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82791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75735" y="830152"/>
            <a:ext cx="11040532" cy="3447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5735" y="1628777"/>
            <a:ext cx="11040532" cy="439261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90679" y="6441947"/>
            <a:ext cx="52578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77"/>
            <a:fld id="{3C963083-A88F-4A89-84DE-754FC59F7472}" type="datetime1">
              <a:rPr lang="nb-NO" smtClean="0">
                <a:solidFill>
                  <a:srgbClr val="44546A"/>
                </a:solidFill>
              </a:rPr>
              <a:t>10.05.2019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51547" y="6441947"/>
            <a:ext cx="740881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77"/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93419" y="6441947"/>
            <a:ext cx="153888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pPr defTabSz="914377"/>
            <a:fld id="{C8015E39-59DC-48A0-9676-AD2CAF5CD29F}" type="slidenum">
              <a:rPr lang="nb-NO" smtClean="0">
                <a:solidFill>
                  <a:srgbClr val="44546A"/>
                </a:solidFill>
              </a:rPr>
              <a:pPr defTabSz="914377"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grpSp>
        <p:nvGrpSpPr>
          <p:cNvPr id="74" name="bamse" hidden="1"/>
          <p:cNvGrpSpPr/>
          <p:nvPr/>
        </p:nvGrpSpPr>
        <p:grpSpPr>
          <a:xfrm>
            <a:off x="5313600" y="2646600"/>
            <a:ext cx="1564800" cy="15648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/>
        </p:nvGrpSpPr>
        <p:grpSpPr>
          <a:xfrm>
            <a:off x="5313600" y="2646600"/>
            <a:ext cx="1564800" cy="15648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/>
        </p:nvGrpSpPr>
        <p:grpSpPr>
          <a:xfrm>
            <a:off x="5313600" y="2646600"/>
            <a:ext cx="1564800" cy="15648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/>
        </p:nvGrpSpPr>
        <p:grpSpPr>
          <a:xfrm>
            <a:off x="5313600" y="2646600"/>
            <a:ext cx="1564800" cy="15648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/>
        </p:nvGrpSpPr>
        <p:grpSpPr>
          <a:xfrm>
            <a:off x="5313600" y="2646600"/>
            <a:ext cx="1564800" cy="15648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/>
        </p:nvGrpSpPr>
        <p:grpSpPr>
          <a:xfrm>
            <a:off x="5313600" y="2646600"/>
            <a:ext cx="1564800" cy="15648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/>
        </p:nvGrpSpPr>
        <p:grpSpPr>
          <a:xfrm>
            <a:off x="5313600" y="2646600"/>
            <a:ext cx="1564800" cy="15648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/>
        </p:nvGrpSpPr>
        <p:grpSpPr>
          <a:xfrm>
            <a:off x="5313600" y="2646600"/>
            <a:ext cx="1564800" cy="15648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/>
        </p:nvGrpSpPr>
        <p:grpSpPr>
          <a:xfrm>
            <a:off x="5313600" y="2646600"/>
            <a:ext cx="1564800" cy="15648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/>
        </p:nvGrpSpPr>
        <p:grpSpPr>
          <a:xfrm>
            <a:off x="5313600" y="2646600"/>
            <a:ext cx="1564800" cy="15648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/>
        </p:nvGrpSpPr>
        <p:grpSpPr>
          <a:xfrm>
            <a:off x="5313600" y="2646600"/>
            <a:ext cx="1564800" cy="15648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/>
        </p:nvGrpSpPr>
        <p:grpSpPr>
          <a:xfrm>
            <a:off x="5313600" y="2646600"/>
            <a:ext cx="1564800" cy="15648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/>
        </p:nvGrpSpPr>
        <p:grpSpPr>
          <a:xfrm>
            <a:off x="5313600" y="2646600"/>
            <a:ext cx="1564800" cy="15648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/>
        </p:nvGrpSpPr>
        <p:grpSpPr>
          <a:xfrm>
            <a:off x="5313600" y="2646600"/>
            <a:ext cx="1564800" cy="15648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/>
        </p:nvGrpSpPr>
        <p:grpSpPr>
          <a:xfrm>
            <a:off x="5313600" y="2646600"/>
            <a:ext cx="1564800" cy="15648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/>
        </p:nvGrpSpPr>
        <p:grpSpPr>
          <a:xfrm>
            <a:off x="5313600" y="2646600"/>
            <a:ext cx="1564800" cy="15648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/>
        </p:nvGrpSpPr>
        <p:grpSpPr>
          <a:xfrm>
            <a:off x="5313600" y="2646600"/>
            <a:ext cx="1564800" cy="15648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/>
        </p:nvGrpSpPr>
        <p:grpSpPr>
          <a:xfrm>
            <a:off x="5313600" y="2646600"/>
            <a:ext cx="1564800" cy="15648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/>
        </p:nvGrpSpPr>
        <p:grpSpPr>
          <a:xfrm>
            <a:off x="5313600" y="2646600"/>
            <a:ext cx="1564800" cy="15648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/>
        </p:nvGrpSpPr>
        <p:grpSpPr>
          <a:xfrm>
            <a:off x="5313600" y="2646600"/>
            <a:ext cx="1564800" cy="15648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/>
        </p:nvGrpSpPr>
        <p:grpSpPr>
          <a:xfrm>
            <a:off x="5313600" y="2646600"/>
            <a:ext cx="1564800" cy="15648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/>
        </p:nvGrpSpPr>
        <p:grpSpPr>
          <a:xfrm>
            <a:off x="5313600" y="2646600"/>
            <a:ext cx="1564800" cy="15648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/>
        </p:nvGrpSpPr>
        <p:grpSpPr>
          <a:xfrm>
            <a:off x="5313600" y="2646600"/>
            <a:ext cx="1564800" cy="15648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/>
        </p:nvGrpSpPr>
        <p:grpSpPr>
          <a:xfrm>
            <a:off x="5313600" y="2646600"/>
            <a:ext cx="1564800" cy="15648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/>
        </p:nvGrpSpPr>
        <p:grpSpPr>
          <a:xfrm>
            <a:off x="5313600" y="2646600"/>
            <a:ext cx="1564800" cy="15648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/>
        </p:nvGrpSpPr>
        <p:grpSpPr>
          <a:xfrm>
            <a:off x="5313600" y="2646600"/>
            <a:ext cx="1564800" cy="15648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/>
        </p:nvGrpSpPr>
        <p:grpSpPr>
          <a:xfrm>
            <a:off x="5313600" y="2646600"/>
            <a:ext cx="1564800" cy="15648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/>
        </p:nvGrpSpPr>
        <p:grpSpPr>
          <a:xfrm>
            <a:off x="5313600" y="2646600"/>
            <a:ext cx="1564800" cy="15648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/>
        </p:nvGrpSpPr>
        <p:grpSpPr>
          <a:xfrm>
            <a:off x="5313600" y="2646600"/>
            <a:ext cx="1564800" cy="15648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/>
        </p:nvGrpSpPr>
        <p:grpSpPr>
          <a:xfrm>
            <a:off x="5313600" y="2646600"/>
            <a:ext cx="1564800" cy="15648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/>
        </p:nvGrpSpPr>
        <p:grpSpPr>
          <a:xfrm>
            <a:off x="5313600" y="2646600"/>
            <a:ext cx="1564800" cy="15648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7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/>
        </p:nvGrpSpPr>
        <p:grpSpPr>
          <a:xfrm>
            <a:off x="5313600" y="2646600"/>
            <a:ext cx="1564800" cy="15648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/>
        </p:nvGrpSpPr>
        <p:grpSpPr>
          <a:xfrm>
            <a:off x="5313600" y="2646600"/>
            <a:ext cx="1564800" cy="15648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/>
        </p:nvSpPr>
        <p:spPr>
          <a:xfrm>
            <a:off x="5327916" y="2660917"/>
            <a:ext cx="1536171" cy="15361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914377"/>
            <a:endParaRPr lang="nb-NO" sz="1400">
              <a:solidFill>
                <a:srgbClr val="7FC6E8"/>
              </a:solidFill>
            </a:endParaRPr>
          </a:p>
        </p:txBody>
      </p:sp>
      <p:pic>
        <p:nvPicPr>
          <p:cNvPr id="7" name="Picture 6" descr="rgb_SB1_BV_verti_pos.png"/>
          <p:cNvPicPr>
            <a:picLocks noChangeAspect="1"/>
          </p:cNvPicPr>
          <p:nvPr userDrawn="1"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6165304"/>
            <a:ext cx="2549359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7807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721" r:id="rId32"/>
    <p:sldLayoutId id="2147483722" r:id="rId33"/>
    <p:sldLayoutId id="2147483723" r:id="rId34"/>
    <p:sldLayoutId id="2147483725" r:id="rId35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342734" rtl="0" eaLnBrk="1" latinLnBrk="0" hangingPunct="1">
        <a:lnSpc>
          <a:spcPct val="80000"/>
        </a:lnSpc>
        <a:spcBef>
          <a:spcPct val="0"/>
        </a:spcBef>
        <a:buNone/>
        <a:defRPr sz="2800" b="1" i="0" kern="1200">
          <a:solidFill>
            <a:srgbClr val="1F82BA"/>
          </a:solidFill>
          <a:latin typeface="+mj-lt"/>
          <a:ea typeface="+mj-ea"/>
          <a:cs typeface="+mj-cs"/>
        </a:defRPr>
      </a:lvl1pPr>
    </p:titleStyle>
    <p:bodyStyle>
      <a:lvl1pPr marL="177796" indent="-177796" algn="l" defTabSz="342734" rtl="0" eaLnBrk="1" latinLnBrk="0" hangingPunct="1">
        <a:lnSpc>
          <a:spcPct val="100000"/>
        </a:lnSpc>
        <a:spcBef>
          <a:spcPts val="6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591" indent="-177796" algn="l" defTabSz="342734" rtl="0" eaLnBrk="1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00" indent="-176209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3882" indent="-192083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91" indent="-176209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42519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887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85253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56621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1368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734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14102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470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56836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204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99571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370938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272">
          <p15:clr>
            <a:srgbClr val="F26B43"/>
          </p15:clr>
        </p15:guide>
        <p15:guide id="3" pos="5488">
          <p15:clr>
            <a:srgbClr val="F26B43"/>
          </p15:clr>
        </p15:guide>
        <p15:guide id="4" orient="horz" pos="2409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1026">
          <p15:clr>
            <a:srgbClr val="F26B43"/>
          </p15:clr>
        </p15:guide>
        <p15:guide id="7" orient="horz" pos="777">
          <p15:clr>
            <a:srgbClr val="F26B43"/>
          </p15:clr>
        </p15:guide>
        <p15:guide id="8" pos="2835">
          <p15:clr>
            <a:srgbClr val="F26B43"/>
          </p15:clr>
        </p15:guide>
        <p15:guide id="9" pos="2925">
          <p15:clr>
            <a:srgbClr val="F26B43"/>
          </p15:clr>
        </p15:guide>
        <p15:guide id="10" orient="horz" pos="33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f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f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image" Target="../media/image126.jf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5.png"/><Relationship Id="rId4" Type="http://schemas.openxmlformats.org/officeDocument/2006/relationships/image" Target="../media/image128.jfi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21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22.xml"/><Relationship Id="rId9" Type="http://schemas.openxmlformats.org/officeDocument/2006/relationships/chart" Target="../charts/char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1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111.png"/><Relationship Id="rId5" Type="http://schemas.openxmlformats.org/officeDocument/2006/relationships/slideLayout" Target="../slideLayouts/slideLayout29.xml"/><Relationship Id="rId10" Type="http://schemas.openxmlformats.org/officeDocument/2006/relationships/chart" Target="../charts/chart14.xml"/><Relationship Id="rId4" Type="http://schemas.openxmlformats.org/officeDocument/2006/relationships/tags" Target="../tags/tag25.xml"/><Relationship Id="rId9" Type="http://schemas.openxmlformats.org/officeDocument/2006/relationships/image" Target="../media/image1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31.jp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5.png"/><Relationship Id="rId4" Type="http://schemas.openxmlformats.org/officeDocument/2006/relationships/image" Target="../media/image1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fi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fi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f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11.png"/><Relationship Id="rId5" Type="http://schemas.openxmlformats.org/officeDocument/2006/relationships/image" Target="../media/image123.jpeg"/><Relationship Id="rId4" Type="http://schemas.openxmlformats.org/officeDocument/2006/relationships/image" Target="../media/image1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3175"/>
            <a:ext cx="12192000" cy="8131175"/>
          </a:xfr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sz="5400" b="1" dirty="0" smtClean="0">
                <a:solidFill>
                  <a:schemeClr val="accent1"/>
                </a:solidFill>
              </a:rPr>
              <a:t>Regnskapspresentasjon </a:t>
            </a:r>
            <a:br>
              <a:rPr lang="nb-NO" sz="5400" b="1" dirty="0" smtClean="0">
                <a:solidFill>
                  <a:schemeClr val="accent1"/>
                </a:solidFill>
              </a:rPr>
            </a:br>
            <a:r>
              <a:rPr lang="nb-NO" sz="5400" b="1" dirty="0" smtClean="0">
                <a:solidFill>
                  <a:schemeClr val="accent1"/>
                </a:solidFill>
              </a:rPr>
              <a:t>1. kvartal 2019</a:t>
            </a:r>
            <a:br>
              <a:rPr lang="nb-NO" sz="5400" b="1" dirty="0" smtClean="0">
                <a:solidFill>
                  <a:schemeClr val="accent1"/>
                </a:solidFill>
              </a:rPr>
            </a:br>
            <a:endParaRPr lang="nb-NO" sz="5400" b="1" dirty="0">
              <a:solidFill>
                <a:schemeClr val="accent1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294967295"/>
          </p:nvPr>
        </p:nvSpPr>
        <p:spPr>
          <a:xfrm>
            <a:off x="0" y="6442075"/>
            <a:ext cx="203200" cy="204788"/>
          </a:xfrm>
        </p:spPr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31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81304" y="807883"/>
            <a:ext cx="7042941" cy="50475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Reduserte utlånsmarginer</a:t>
            </a:r>
            <a:endParaRPr lang="nb-NO" sz="4000" dirty="0"/>
          </a:p>
        </p:txBody>
      </p:sp>
      <p:sp>
        <p:nvSpPr>
          <p:cNvPr id="7" name="Rektangel 29"/>
          <p:cNvSpPr/>
          <p:nvPr/>
        </p:nvSpPr>
        <p:spPr>
          <a:xfrm>
            <a:off x="8124843" y="2000800"/>
            <a:ext cx="4567755" cy="3313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2133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Utvikling gjennomsnittlig 3 </a:t>
            </a:r>
            <a:r>
              <a:rPr lang="nb-NO" sz="1867" dirty="0" err="1">
                <a:solidFill>
                  <a:schemeClr val="bg1"/>
                </a:solidFill>
              </a:rPr>
              <a:t>mnd</a:t>
            </a:r>
            <a:r>
              <a:rPr lang="nb-NO" sz="1867" dirty="0">
                <a:solidFill>
                  <a:schemeClr val="bg1"/>
                </a:solidFill>
              </a:rPr>
              <a:t> NIBOR:</a:t>
            </a:r>
            <a:endParaRPr lang="nb-NO" sz="2133" b="1" dirty="0">
              <a:solidFill>
                <a:schemeClr val="bg1"/>
              </a:solidFill>
            </a:endParaRPr>
          </a:p>
          <a:p>
            <a:pPr marL="456966" lvl="2" defTabSz="342734">
              <a:spcBef>
                <a:spcPts val="800"/>
              </a:spcBef>
              <a:buClr>
                <a:srgbClr val="CBCBCB"/>
              </a:buClr>
            </a:pPr>
            <a:endParaRPr lang="nb-NO" sz="2133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8124843" y="3467646"/>
          <a:ext cx="4067157" cy="9721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7722"/>
                <a:gridCol w="593887"/>
                <a:gridCol w="593887"/>
                <a:gridCol w="593887"/>
                <a:gridCol w="593887"/>
                <a:gridCol w="593887"/>
              </a:tblGrid>
              <a:tr h="447255">
                <a:tc>
                  <a:txBody>
                    <a:bodyPr/>
                    <a:lstStyle/>
                    <a:p>
                      <a:endParaRPr lang="nb-NO" sz="13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2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4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  <a:tr h="524897">
                <a:tc>
                  <a:txBody>
                    <a:bodyPr/>
                    <a:lstStyle/>
                    <a:p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3 </a:t>
                      </a:r>
                      <a:r>
                        <a:rPr lang="nb-NO" sz="1100" dirty="0" err="1" smtClean="0">
                          <a:solidFill>
                            <a:schemeClr val="tx1"/>
                          </a:solidFill>
                        </a:rPr>
                        <a:t>mnd</a:t>
                      </a:r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 gj.sn. NIBOR</a:t>
                      </a:r>
                      <a:endParaRPr lang="nb-NO" sz="11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0,95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7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1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2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  <p:graphicFrame>
        <p:nvGraphicFramePr>
          <p:cNvPr id="11" name="Diagram 10"/>
          <p:cNvGraphicFramePr/>
          <p:nvPr>
            <p:extLst/>
          </p:nvPr>
        </p:nvGraphicFramePr>
        <p:xfrm>
          <a:off x="293420" y="1732112"/>
          <a:ext cx="7508129" cy="4965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114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1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781252" y="724899"/>
            <a:ext cx="7042941" cy="555217"/>
          </a:xfrm>
        </p:spPr>
        <p:txBody>
          <a:bodyPr/>
          <a:lstStyle/>
          <a:p>
            <a:r>
              <a:rPr lang="nb-NO" sz="4400" b="1" dirty="0">
                <a:solidFill>
                  <a:schemeClr val="accent1"/>
                </a:solidFill>
              </a:rPr>
              <a:t>5 % økning i andre inntekter</a:t>
            </a:r>
            <a:endParaRPr lang="nb-NO" sz="4400" dirty="0"/>
          </a:p>
        </p:txBody>
      </p:sp>
      <p:graphicFrame>
        <p:nvGraphicFramePr>
          <p:cNvPr id="2" name="Tabell 1"/>
          <p:cNvGraphicFramePr>
            <a:graphicFrameLocks noGrp="1"/>
          </p:cNvGraphicFramePr>
          <p:nvPr>
            <p:extLst/>
          </p:nvPr>
        </p:nvGraphicFramePr>
        <p:xfrm>
          <a:off x="1402671" y="1847216"/>
          <a:ext cx="5140171" cy="4118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1877"/>
                <a:gridCol w="1083075"/>
                <a:gridCol w="1145219"/>
              </a:tblGrid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løp i </a:t>
                      </a:r>
                      <a:r>
                        <a:rPr lang="nb-NO" sz="12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3.19</a:t>
                      </a:r>
                      <a:endParaRPr lang="nb-NO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3.18</a:t>
                      </a:r>
                      <a:endParaRPr lang="nb-NO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alingsformidling m.m.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sikring/pensjon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ring/plassering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rantiprovisjon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endomsmegl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nskapshuset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o provisjons- og andre inntekter*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nb-NO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6 </a:t>
                      </a:r>
                      <a:endParaRPr lang="nb-NO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 </a:t>
                      </a:r>
                      <a:endParaRPr lang="nb-NO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1349405" y="5965792"/>
            <a:ext cx="40304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schemeClr val="tx2"/>
                </a:solidFill>
              </a:rPr>
              <a:t>*</a:t>
            </a:r>
            <a:r>
              <a:rPr lang="nb-NO" sz="1100" dirty="0" smtClean="0">
                <a:solidFill>
                  <a:schemeClr val="tx2"/>
                </a:solidFill>
              </a:rPr>
              <a:t>eksklusive provisjonsinntekt boligkreditt </a:t>
            </a:r>
            <a:r>
              <a:rPr lang="nb-NO" sz="1100" dirty="0">
                <a:solidFill>
                  <a:schemeClr val="tx2"/>
                </a:solidFill>
              </a:rPr>
              <a:t>og gevinst salg bankbygg</a:t>
            </a:r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8140822" y="164148"/>
          <a:ext cx="4238594" cy="6441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41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2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44963" y="621430"/>
            <a:ext cx="7355490" cy="50475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Driftskostnader</a:t>
            </a:r>
            <a:endParaRPr lang="nb-NO" sz="4000" dirty="0">
              <a:solidFill>
                <a:schemeClr val="accent1"/>
              </a:solidFill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8610434" y="2640377"/>
            <a:ext cx="3103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>
                <a:solidFill>
                  <a:schemeClr val="bg1"/>
                </a:solidFill>
              </a:rPr>
              <a:t>Bilde !!!</a:t>
            </a:r>
            <a:endParaRPr lang="nb-NO" dirty="0">
              <a:solidFill>
                <a:schemeClr val="bg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/>
          </p:nvPr>
        </p:nvGraphicFramePr>
        <p:xfrm>
          <a:off x="1002086" y="2279486"/>
          <a:ext cx="6023291" cy="3305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156"/>
                <a:gridCol w="859227"/>
                <a:gridCol w="859227"/>
                <a:gridCol w="859227"/>
                <a:gridCol w="859227"/>
                <a:gridCol w="859227"/>
              </a:tblGrid>
              <a:tr h="264920"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.  </a:t>
                      </a:r>
                      <a:r>
                        <a:rPr lang="nb-NO" sz="12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. 19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nb-NO" sz="12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69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nb-NO" sz="12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</a:p>
                    <a:p>
                      <a:pPr algn="ctr"/>
                      <a:endParaRPr lang="nb-N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69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nb-NO" sz="12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</a:p>
                    <a:p>
                      <a:pPr algn="ctr"/>
                      <a:endParaRPr lang="nb-N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69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nb-NO" sz="12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</a:p>
                    <a:p>
                      <a:pPr algn="ctr"/>
                      <a:endParaRPr lang="nb-N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Perso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85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98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77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78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87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Reversering pensjons-</a:t>
                      </a:r>
                    </a:p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forpliktelse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10</a:t>
                      </a:r>
                      <a:endParaRPr lang="nb-NO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-92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IT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6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Bygg/drift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Øvrige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SUM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145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149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132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43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142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94" r="27085"/>
          <a:stretch/>
        </p:blipFill>
        <p:spPr>
          <a:xfrm>
            <a:off x="8093962" y="0"/>
            <a:ext cx="4136065" cy="68580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85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3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627248" y="993521"/>
            <a:ext cx="7042941" cy="84574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Tapsutvikling</a:t>
            </a:r>
            <a:r>
              <a:rPr lang="nb-NO" sz="4000" b="1" dirty="0">
                <a:solidFill>
                  <a:schemeClr val="accent1"/>
                </a:solidFill>
              </a:rPr>
              <a:t/>
            </a:r>
            <a:br>
              <a:rPr lang="nb-NO" sz="4000" b="1" dirty="0">
                <a:solidFill>
                  <a:schemeClr val="accent1"/>
                </a:solidFill>
              </a:rPr>
            </a:br>
            <a:r>
              <a:rPr lang="nb-NO" sz="2800" b="1" dirty="0">
                <a:solidFill>
                  <a:schemeClr val="accent1"/>
                </a:solidFill>
              </a:rPr>
              <a:t>-IFRS 9 implementert fra </a:t>
            </a:r>
            <a:r>
              <a:rPr lang="nb-NO" sz="2800" b="1" dirty="0" smtClean="0">
                <a:solidFill>
                  <a:schemeClr val="accent1"/>
                </a:solidFill>
              </a:rPr>
              <a:t>2018</a:t>
            </a:r>
            <a:endParaRPr lang="nb-NO" sz="4000" dirty="0"/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455857" y="1834969"/>
          <a:ext cx="7118115" cy="4853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50" r="44878"/>
          <a:stretch/>
        </p:blipFill>
        <p:spPr>
          <a:xfrm>
            <a:off x="8112642" y="-629115"/>
            <a:ext cx="4079358" cy="7487115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11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4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5857" y="198460"/>
            <a:ext cx="7782176" cy="1064522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Tapsavsetninger – utvikling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/>
          </p:nvPr>
        </p:nvGraphicFramePr>
        <p:xfrm>
          <a:off x="8118504" y="2313987"/>
          <a:ext cx="4073496" cy="1786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7832"/>
                <a:gridCol w="1357832"/>
                <a:gridCol w="1357832"/>
              </a:tblGrid>
              <a:tr h="56755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Utlånsvolum </a:t>
                      </a:r>
                      <a:r>
                        <a:rPr lang="nb-NO" sz="1400" dirty="0" err="1" smtClean="0"/>
                        <a:t>mill</a:t>
                      </a:r>
                      <a:r>
                        <a:rPr lang="nb-NO" sz="1400" dirty="0" smtClean="0"/>
                        <a:t> kr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31.12.2018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31.03.2019</a:t>
                      </a:r>
                      <a:endParaRPr lang="nb-NO" sz="1400" dirty="0"/>
                    </a:p>
                  </a:txBody>
                  <a:tcPr/>
                </a:tc>
              </a:tr>
              <a:tr h="40619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Trin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25.001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24.739</a:t>
                      </a:r>
                      <a:endParaRPr lang="nb-NO" sz="1400" dirty="0"/>
                    </a:p>
                  </a:txBody>
                  <a:tcPr/>
                </a:tc>
              </a:tr>
              <a:tr h="40619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Trinn 2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  1.683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  1.869</a:t>
                      </a:r>
                      <a:endParaRPr lang="nb-NO" sz="1400" dirty="0"/>
                    </a:p>
                  </a:txBody>
                  <a:tcPr/>
                </a:tc>
              </a:tr>
              <a:tr h="40619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Trinn 3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     319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     259</a:t>
                      </a:r>
                      <a:endParaRPr lang="nb-NO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Diagram 6"/>
          <p:cNvGraphicFramePr/>
          <p:nvPr>
            <p:extLst/>
          </p:nvPr>
        </p:nvGraphicFramePr>
        <p:xfrm>
          <a:off x="455857" y="1427130"/>
          <a:ext cx="7379924" cy="5014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6800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5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93420" y="534003"/>
            <a:ext cx="7782176" cy="1608517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EK-avkastning 15,9 % mot mål 10 %</a:t>
            </a:r>
            <a:r>
              <a:rPr lang="nb-NO" sz="4400" b="1" dirty="0" smtClean="0">
                <a:solidFill>
                  <a:schemeClr val="accent1"/>
                </a:solidFill>
              </a:rPr>
              <a:t/>
            </a:r>
            <a:br>
              <a:rPr lang="nb-NO" sz="4400" b="1" dirty="0" smtClean="0">
                <a:solidFill>
                  <a:schemeClr val="accent1"/>
                </a:solidFill>
              </a:rPr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9" name="TekstSylinder 8"/>
          <p:cNvSpPr txBox="1"/>
          <p:nvPr/>
        </p:nvSpPr>
        <p:spPr>
          <a:xfrm>
            <a:off x="8616500" y="2142520"/>
            <a:ext cx="345471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u="sng" dirty="0" smtClean="0">
                <a:solidFill>
                  <a:schemeClr val="bg1"/>
                </a:solidFill>
              </a:rPr>
              <a:t>EK-avkastning justert 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Justert for: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2019: 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Fusjon forsikring (</a:t>
            </a:r>
            <a:r>
              <a:rPr lang="nb-NO" sz="1400" dirty="0" err="1" smtClean="0">
                <a:solidFill>
                  <a:schemeClr val="bg1"/>
                </a:solidFill>
              </a:rPr>
              <a:t>Fremtind</a:t>
            </a:r>
            <a:r>
              <a:rPr lang="nb-NO" sz="1400" dirty="0" smtClean="0">
                <a:solidFill>
                  <a:schemeClr val="bg1"/>
                </a:solidFill>
              </a:rPr>
              <a:t>) (72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  <a:endParaRPr lang="nb-NO" sz="1400" dirty="0">
              <a:solidFill>
                <a:schemeClr val="bg1"/>
              </a:solidFill>
            </a:endParaRPr>
          </a:p>
          <a:p>
            <a:endParaRPr lang="nb-NO" sz="1400" dirty="0" smtClean="0">
              <a:solidFill>
                <a:schemeClr val="bg1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2018: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Salg </a:t>
            </a:r>
            <a:r>
              <a:rPr lang="nb-NO" sz="1400" dirty="0">
                <a:solidFill>
                  <a:schemeClr val="bg1"/>
                </a:solidFill>
              </a:rPr>
              <a:t>av eiendom </a:t>
            </a:r>
            <a:r>
              <a:rPr lang="nb-NO" sz="1400" dirty="0" smtClean="0">
                <a:solidFill>
                  <a:schemeClr val="bg1"/>
                </a:solidFill>
              </a:rPr>
              <a:t>(91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  <a:endParaRPr lang="nb-NO" sz="1400" dirty="0">
              <a:solidFill>
                <a:schemeClr val="bg1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Avvikling ytelsespensjon (102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</a:p>
          <a:p>
            <a:endParaRPr lang="nb-NO" sz="1400" dirty="0" smtClean="0">
              <a:solidFill>
                <a:schemeClr val="bg1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2017:</a:t>
            </a:r>
            <a:endParaRPr lang="nb-NO" sz="1400" dirty="0">
              <a:solidFill>
                <a:schemeClr val="bg1"/>
              </a:solidFill>
            </a:endParaRPr>
          </a:p>
          <a:p>
            <a:r>
              <a:rPr lang="nb-NO" sz="1400" dirty="0">
                <a:solidFill>
                  <a:schemeClr val="bg1"/>
                </a:solidFill>
              </a:rPr>
              <a:t>I</a:t>
            </a:r>
            <a:r>
              <a:rPr lang="nb-NO" sz="1400" dirty="0" smtClean="0">
                <a:solidFill>
                  <a:schemeClr val="bg1"/>
                </a:solidFill>
              </a:rPr>
              <a:t>nntektsføring av negativ goodwill (89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  <a:endParaRPr lang="nb-NO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455857" y="1427130"/>
          <a:ext cx="7379924" cy="5014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076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Diagram 16"/>
          <p:cNvGraphicFramePr/>
          <p:nvPr>
            <p:extLst/>
          </p:nvPr>
        </p:nvGraphicFramePr>
        <p:xfrm>
          <a:off x="397356" y="1546940"/>
          <a:ext cx="7118318" cy="4977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6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7" name="TekstSylinder 6"/>
          <p:cNvSpPr txBox="1"/>
          <p:nvPr/>
        </p:nvSpPr>
        <p:spPr>
          <a:xfrm rot="17957455">
            <a:off x="1325772" y="4297280"/>
            <a:ext cx="10003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Morbank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8" name="TekstSylinder 7"/>
          <p:cNvSpPr txBox="1"/>
          <p:nvPr/>
        </p:nvSpPr>
        <p:spPr>
          <a:xfrm rot="17787517">
            <a:off x="1768984" y="4273695"/>
            <a:ext cx="10556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Konsolidert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9" name="TekstSylinder 8"/>
          <p:cNvSpPr txBox="1"/>
          <p:nvPr/>
        </p:nvSpPr>
        <p:spPr>
          <a:xfrm rot="17327379">
            <a:off x="2879431" y="4255682"/>
            <a:ext cx="10556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Konsolidert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10" name="TekstSylinder 9"/>
          <p:cNvSpPr txBox="1"/>
          <p:nvPr/>
        </p:nvSpPr>
        <p:spPr>
          <a:xfrm rot="17327379">
            <a:off x="4027318" y="4239804"/>
            <a:ext cx="10556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Konsolidert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11" name="Tittel 1"/>
          <p:cNvSpPr txBox="1">
            <a:spLocks/>
          </p:cNvSpPr>
          <p:nvPr/>
        </p:nvSpPr>
        <p:spPr>
          <a:xfrm>
            <a:off x="866811" y="452651"/>
            <a:ext cx="11910308" cy="98488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697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533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000" b="1" dirty="0" smtClean="0">
                <a:solidFill>
                  <a:schemeClr val="accent1"/>
                </a:solidFill>
              </a:rPr>
              <a:t>Solid bank med god vekst- </a:t>
            </a:r>
          </a:p>
          <a:p>
            <a:r>
              <a:rPr lang="nb-NO" sz="4000" b="1" dirty="0" smtClean="0">
                <a:solidFill>
                  <a:schemeClr val="accent1"/>
                </a:solidFill>
              </a:rPr>
              <a:t>og utbytteevne fremover</a:t>
            </a:r>
            <a:endParaRPr lang="nb-NO" sz="4800" b="1" dirty="0">
              <a:solidFill>
                <a:schemeClr val="accent1"/>
              </a:solidFill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8361042" y="1891385"/>
            <a:ext cx="3270028" cy="3334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3934">
              <a:buFont typeface="Wingdings" panose="05000000000000000000" pitchFamily="2" charset="2"/>
              <a:buChar char="§"/>
            </a:pPr>
            <a:endParaRPr lang="nb-NO" sz="1600" dirty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Ren kjernekapital på 16,3 % (eksklusive periodens resultat)</a:t>
            </a: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err="1" smtClean="0">
                <a:solidFill>
                  <a:schemeClr val="bg1"/>
                </a:solidFill>
              </a:rPr>
              <a:t>Leverage</a:t>
            </a:r>
            <a:r>
              <a:rPr lang="nb-NO" sz="1600" dirty="0" smtClean="0">
                <a:solidFill>
                  <a:schemeClr val="bg1"/>
                </a:solidFill>
              </a:rPr>
              <a:t> ratio 8,1 (konsolidert)</a:t>
            </a:r>
          </a:p>
          <a:p>
            <a:pPr marL="285750" indent="-28575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Pilar </a:t>
            </a:r>
            <a:r>
              <a:rPr lang="nb-NO" sz="1600" dirty="0">
                <a:solidFill>
                  <a:schemeClr val="bg1"/>
                </a:solidFill>
              </a:rPr>
              <a:t>II vurdering </a:t>
            </a:r>
            <a:r>
              <a:rPr lang="nb-NO" sz="1600" dirty="0" smtClean="0">
                <a:solidFill>
                  <a:schemeClr val="bg1"/>
                </a:solidFill>
              </a:rPr>
              <a:t>på 1,9 % fra 31.12.18.</a:t>
            </a: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Nytt kapitalmål ren kjernekapital på 15,5 % i 2019 (</a:t>
            </a:r>
            <a:r>
              <a:rPr lang="nb-NO" sz="1600" dirty="0" err="1" smtClean="0">
                <a:solidFill>
                  <a:schemeClr val="bg1"/>
                </a:solidFill>
              </a:rPr>
              <a:t>motsyklisk</a:t>
            </a:r>
            <a:r>
              <a:rPr lang="nb-NO" sz="1600" dirty="0" smtClean="0">
                <a:solidFill>
                  <a:schemeClr val="bg1"/>
                </a:solidFill>
              </a:rPr>
              <a:t> buffer opp fra 2,0 til 2,5 %)</a:t>
            </a:r>
            <a:endParaRPr lang="nb-NO" sz="1600" dirty="0">
              <a:solidFill>
                <a:schemeClr val="bg1"/>
              </a:solidFill>
            </a:endParaRPr>
          </a:p>
          <a:p>
            <a:pPr marL="380990" indent="-380990" defTabSz="913934">
              <a:buFontTx/>
              <a:buChar char="-"/>
            </a:pPr>
            <a:endParaRPr lang="nb-NO" sz="1867" dirty="0">
              <a:solidFill>
                <a:srgbClr val="1F82BA">
                  <a:lumMod val="75000"/>
                </a:srgbClr>
              </a:solidFill>
            </a:endParaRPr>
          </a:p>
        </p:txBody>
      </p:sp>
      <p:sp>
        <p:nvSpPr>
          <p:cNvPr id="13" name="TekstSylinder 12"/>
          <p:cNvSpPr txBox="1"/>
          <p:nvPr/>
        </p:nvSpPr>
        <p:spPr>
          <a:xfrm rot="17327379">
            <a:off x="5175205" y="4239803"/>
            <a:ext cx="10556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Konsolidert</a:t>
            </a:r>
            <a:endParaRPr lang="nb-NO" sz="1100" dirty="0">
              <a:solidFill>
                <a:schemeClr val="bg1"/>
              </a:solidFill>
            </a:endParaRPr>
          </a:p>
        </p:txBody>
      </p:sp>
      <p:sp>
        <p:nvSpPr>
          <p:cNvPr id="14" name="Plassholder for tekst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157896" y="2540080"/>
            <a:ext cx="791633" cy="22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altLang="en-US" sz="1200" dirty="0" err="1">
                <a:solidFill>
                  <a:schemeClr val="accent1"/>
                </a:solidFill>
              </a:rPr>
              <a:t>Adm.buffe</a:t>
            </a:r>
            <a:r>
              <a:rPr lang="nb-NO" altLang="en-US" sz="1200" dirty="0" err="1">
                <a:solidFill>
                  <a:srgbClr val="032A74"/>
                </a:solidFill>
              </a:rPr>
              <a:t>r</a:t>
            </a:r>
            <a:endParaRPr lang="nb-NO" sz="1200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15" name="Plassholder for tekst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56157" y="4408578"/>
            <a:ext cx="1204469" cy="56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Pilar I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Inkl. </a:t>
            </a:r>
            <a:r>
              <a:rPr lang="nb-NO" sz="1200" dirty="0" err="1">
                <a:solidFill>
                  <a:schemeClr val="accent1"/>
                </a:solidFill>
                <a:sym typeface="+mn-lt"/>
              </a:rPr>
              <a:t>motsyklisk</a:t>
            </a:r>
            <a:endParaRPr lang="nb-NO" sz="1200" dirty="0">
              <a:solidFill>
                <a:schemeClr val="accent1"/>
              </a:solidFill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b</a:t>
            </a:r>
            <a:r>
              <a:rPr lang="nb-NO" sz="1200" dirty="0" smtClean="0">
                <a:solidFill>
                  <a:schemeClr val="accent1"/>
                </a:solidFill>
                <a:sym typeface="+mn-lt"/>
              </a:rPr>
              <a:t>uffer 2,5 %</a:t>
            </a:r>
            <a:endParaRPr lang="nb-NO" sz="1200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6" name="Plassholder for tekst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231521" y="2808924"/>
            <a:ext cx="425451" cy="385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fld id="{1E016006-D05E-4F85-AD3F-3500A1EAEBF4}" type="datetime'''Pi''''''''''''l''''''''''a''''r'''''' ''I''I'''''''''''''">
              <a:rPr lang="nb-NO" altLang="en-US" sz="1200">
                <a:solidFill>
                  <a:schemeClr val="accent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Clr>
                  <a:srgbClr val="032A74"/>
                </a:buClr>
                <a:buNone/>
              </a:pPr>
              <a:t>Pilar II</a:t>
            </a:fld>
            <a:endParaRPr lang="nb-NO" sz="1333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20" name="TekstSylinder 19"/>
          <p:cNvSpPr txBox="1"/>
          <p:nvPr/>
        </p:nvSpPr>
        <p:spPr>
          <a:xfrm>
            <a:off x="6511759" y="2808924"/>
            <a:ext cx="551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chemeClr val="bg1"/>
                </a:solidFill>
              </a:rPr>
              <a:t>1,9 %</a:t>
            </a:r>
            <a:endParaRPr lang="nb-NO" sz="1200" b="1" dirty="0">
              <a:solidFill>
                <a:schemeClr val="bg1"/>
              </a:solidFill>
            </a:endParaRPr>
          </a:p>
        </p:txBody>
      </p:sp>
      <p:sp>
        <p:nvSpPr>
          <p:cNvPr id="21" name="TekstSylinder 20"/>
          <p:cNvSpPr txBox="1"/>
          <p:nvPr/>
        </p:nvSpPr>
        <p:spPr>
          <a:xfrm>
            <a:off x="6477137" y="4556123"/>
            <a:ext cx="620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chemeClr val="bg1"/>
                </a:solidFill>
              </a:rPr>
              <a:t>12,5 %</a:t>
            </a:r>
            <a:endParaRPr lang="nb-NO" sz="1200" b="1" dirty="0">
              <a:solidFill>
                <a:schemeClr val="bg1"/>
              </a:solidFill>
            </a:endParaRPr>
          </a:p>
        </p:txBody>
      </p:sp>
      <p:sp>
        <p:nvSpPr>
          <p:cNvPr id="18" name="TekstSylinder 17"/>
          <p:cNvSpPr txBox="1"/>
          <p:nvPr/>
        </p:nvSpPr>
        <p:spPr>
          <a:xfrm rot="17787517">
            <a:off x="653628" y="4171514"/>
            <a:ext cx="10556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 smtClean="0">
                <a:solidFill>
                  <a:schemeClr val="bg1"/>
                </a:solidFill>
              </a:rPr>
              <a:t>Konsolidert</a:t>
            </a:r>
            <a:endParaRPr lang="nb-NO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93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innhold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68" y="-1655023"/>
            <a:ext cx="14325599" cy="10744200"/>
          </a:xfr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57714" y="1460155"/>
            <a:ext cx="10629499" cy="681405"/>
          </a:xfrm>
        </p:spPr>
        <p:txBody>
          <a:bodyPr/>
          <a:lstStyle/>
          <a:p>
            <a:r>
              <a:rPr lang="nb-NO" sz="5400" b="1" dirty="0">
                <a:solidFill>
                  <a:schemeClr val="bg1"/>
                </a:solidFill>
              </a:rPr>
              <a:t>Balanseutvikling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7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69" y="-1655022"/>
            <a:ext cx="16116301" cy="10744200"/>
          </a:xfrm>
          <a:prstGeom prst="rect">
            <a:avLst/>
          </a:prstGeom>
        </p:spPr>
      </p:pic>
      <p:sp>
        <p:nvSpPr>
          <p:cNvPr id="12" name="Tittel 1"/>
          <p:cNvSpPr txBox="1">
            <a:spLocks/>
          </p:cNvSpPr>
          <p:nvPr/>
        </p:nvSpPr>
        <p:spPr>
          <a:xfrm>
            <a:off x="1110114" y="1612555"/>
            <a:ext cx="10629499" cy="6814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697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533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5400" b="1" dirty="0" smtClean="0">
                <a:solidFill>
                  <a:schemeClr val="accent1">
                    <a:lumMod val="75000"/>
                  </a:schemeClr>
                </a:solidFill>
              </a:rPr>
              <a:t>Balanseutvikling</a:t>
            </a:r>
            <a:endParaRPr lang="nb-NO" sz="5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8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28535" y="390938"/>
            <a:ext cx="7042941" cy="1099725"/>
          </a:xfrm>
        </p:spPr>
        <p:txBody>
          <a:bodyPr/>
          <a:lstStyle/>
          <a:p>
            <a:r>
              <a:rPr lang="nb-NO" sz="4400" b="1" dirty="0">
                <a:solidFill>
                  <a:schemeClr val="accent1"/>
                </a:solidFill>
              </a:rPr>
              <a:t>Balanse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3580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rgbClr val="FFFFFF"/>
                </a:solidFill>
              </a:rPr>
              <a:t>Nøkkeltall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rgbClr val="FFFFFF"/>
                </a:solidFill>
              </a:rPr>
              <a:t>Forretningskapital   		</a:t>
            </a:r>
            <a:r>
              <a:rPr lang="nb-NO" sz="1867" dirty="0" smtClean="0">
                <a:solidFill>
                  <a:schemeClr val="bg1"/>
                </a:solidFill>
              </a:rPr>
              <a:t>51 </a:t>
            </a:r>
            <a:r>
              <a:rPr lang="nb-NO" sz="1867" dirty="0" err="1">
                <a:solidFill>
                  <a:schemeClr val="bg1"/>
                </a:solidFill>
              </a:rPr>
              <a:t>Mrd</a:t>
            </a: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Netto utlån </a:t>
            </a:r>
            <a:r>
              <a:rPr lang="nb-NO" sz="1867" dirty="0" err="1" smtClean="0">
                <a:solidFill>
                  <a:schemeClr val="bg1"/>
                </a:solidFill>
              </a:rPr>
              <a:t>inkl</a:t>
            </a:r>
            <a:r>
              <a:rPr lang="nb-NO" sz="1867" dirty="0" smtClean="0">
                <a:solidFill>
                  <a:schemeClr val="bg1"/>
                </a:solidFill>
              </a:rPr>
              <a:t> BK/NK    42 </a:t>
            </a:r>
            <a:r>
              <a:rPr lang="nb-NO" sz="1867" dirty="0" err="1">
                <a:solidFill>
                  <a:schemeClr val="bg1"/>
                </a:solidFill>
              </a:rPr>
              <a:t>Mrd</a:t>
            </a: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Innskudd</a:t>
            </a:r>
            <a:r>
              <a:rPr lang="nb-NO" sz="1867" dirty="0">
                <a:solidFill>
                  <a:schemeClr val="bg1"/>
                </a:solidFill>
              </a:rPr>
              <a:t>					</a:t>
            </a:r>
            <a:r>
              <a:rPr lang="nb-NO" sz="1867" dirty="0" smtClean="0">
                <a:solidFill>
                  <a:schemeClr val="bg1"/>
                </a:solidFill>
              </a:rPr>
              <a:t>24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Markedsfinansiering		  9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Finansiering BK/NK		13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chemeClr val="bg1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/>
          </p:nvPr>
        </p:nvGraphicFramePr>
        <p:xfrm>
          <a:off x="763937" y="940800"/>
          <a:ext cx="6480241" cy="5822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9472"/>
                <a:gridCol w="970343"/>
                <a:gridCol w="835213"/>
                <a:gridCol w="835213"/>
              </a:tblGrid>
              <a:tr h="40860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onsern (</a:t>
                      </a:r>
                      <a:r>
                        <a:rPr lang="nb-NO" sz="12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1.03.19</a:t>
                      </a:r>
                      <a:endParaRPr lang="nb-NO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1.03.18</a:t>
                      </a:r>
                      <a:endParaRPr lang="nb-NO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1.12.18</a:t>
                      </a:r>
                      <a:endParaRPr lang="nb-NO" sz="1200" dirty="0"/>
                    </a:p>
                  </a:txBody>
                  <a:tcPr/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tanter og fordringer på sentralbank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9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0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9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tlån til og fordringer på kredittinstitusjon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965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96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025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tto utlån til kund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.218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7.90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.37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tifikater, obligasjoner og andre verdipapir med virkelig verdi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494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048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033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sjer, andeler og andre egenkapitalinteress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360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4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32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ierinteresser i </a:t>
                      </a:r>
                      <a:r>
                        <a:rPr lang="nb-NO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lleskontrollert</a:t>
                      </a:r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virksomhet og tilknyttet selskap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26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29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0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rige driftsmidl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8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re eiendeler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7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4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m eiendeler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.047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.027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.581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skudd fra kredittinstitusjoner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2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skudd fra kund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.698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.013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.139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eld stiftet ved utstedelse av verdipapir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490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462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757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n gjeld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550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632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92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svarlig lånekapital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442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93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445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 gjeld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3.208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0.612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1.732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 egen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.838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.416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.848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eld og egen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8.047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5.027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6.581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igkreditt/Næringskredit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2.582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1.436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2.322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retnings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50.629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6.463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8.903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9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34">
              <a:spcBef>
                <a:spcPct val="0"/>
              </a:spcBef>
              <a:spcAft>
                <a:spcPct val="0"/>
              </a:spcAft>
            </a:pPr>
            <a:endParaRPr lang="nb-NO" sz="1867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5857" y="310525"/>
            <a:ext cx="7464344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Svakere utlånsvekst i 1. kvartal</a:t>
            </a:r>
            <a:endParaRPr lang="nb-NO" sz="4400" b="1" dirty="0">
              <a:solidFill>
                <a:schemeClr val="accent1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1284" y="5846234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24" name="Rektangel 11"/>
          <p:cNvSpPr/>
          <p:nvPr/>
        </p:nvSpPr>
        <p:spPr>
          <a:xfrm>
            <a:off x="8315748" y="1271643"/>
            <a:ext cx="3840427" cy="4032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Nøkkeltall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Utlånsvekst 6,2 % siste 12 </a:t>
            </a:r>
            <a:r>
              <a:rPr lang="nb-NO" sz="1867" b="1" dirty="0" err="1" smtClean="0">
                <a:solidFill>
                  <a:srgbClr val="FFFFFF"/>
                </a:solidFill>
              </a:rPr>
              <a:t>mnd</a:t>
            </a:r>
            <a:r>
              <a:rPr lang="nb-NO" sz="1867" b="1" dirty="0" smtClean="0">
                <a:solidFill>
                  <a:srgbClr val="FFFFFF"/>
                </a:solidFill>
              </a:rPr>
              <a:t> -&gt;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rgbClr val="FFFFFF"/>
                </a:solidFill>
              </a:rPr>
              <a:t>8</a:t>
            </a:r>
            <a:r>
              <a:rPr lang="nb-NO" sz="1867" b="1" dirty="0" smtClean="0">
                <a:solidFill>
                  <a:srgbClr val="FFFFFF"/>
                </a:solidFill>
              </a:rPr>
              <a:t>,0 % PM og -1,4 % BM</a:t>
            </a:r>
            <a:r>
              <a:rPr lang="nb-NO" sz="1867" b="1" dirty="0" smtClean="0">
                <a:solidFill>
                  <a:srgbClr val="FF0000"/>
                </a:solidFill>
              </a:rPr>
              <a:t>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0000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Utlånsvekst 0,3 % siste kvartal-&gt;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0,9 % PM og -2,5 % BM</a:t>
            </a:r>
            <a:endParaRPr lang="nb-NO" sz="1867" b="1" dirty="0" smtClean="0">
              <a:solidFill>
                <a:srgbClr val="FF0000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chemeClr val="bg1"/>
                </a:solidFill>
              </a:rPr>
              <a:t>Norge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chemeClr val="bg1"/>
                </a:solidFill>
              </a:rPr>
              <a:t>Utlånsvekst  5,8 </a:t>
            </a:r>
            <a:r>
              <a:rPr lang="nb-NO" sz="1867" b="1" dirty="0">
                <a:solidFill>
                  <a:schemeClr val="bg1"/>
                </a:solidFill>
              </a:rPr>
              <a:t>% siste 12 </a:t>
            </a:r>
            <a:r>
              <a:rPr lang="nb-NO" sz="1867" b="1" dirty="0" err="1">
                <a:solidFill>
                  <a:schemeClr val="bg1"/>
                </a:solidFill>
              </a:rPr>
              <a:t>mnd</a:t>
            </a:r>
            <a:r>
              <a:rPr lang="nb-NO" sz="1867" b="1" dirty="0">
                <a:solidFill>
                  <a:schemeClr val="bg1"/>
                </a:solidFill>
              </a:rPr>
              <a:t> -&gt;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chemeClr val="bg1"/>
                </a:solidFill>
              </a:rPr>
              <a:t>PM </a:t>
            </a:r>
            <a:r>
              <a:rPr lang="nb-NO" sz="1867" b="1" dirty="0" smtClean="0">
                <a:solidFill>
                  <a:schemeClr val="bg1"/>
                </a:solidFill>
              </a:rPr>
              <a:t>5,6 </a:t>
            </a:r>
            <a:r>
              <a:rPr lang="nb-NO" sz="1867" b="1" dirty="0">
                <a:solidFill>
                  <a:schemeClr val="bg1"/>
                </a:solidFill>
              </a:rPr>
              <a:t>% og BM </a:t>
            </a:r>
            <a:r>
              <a:rPr lang="nb-NO" sz="1867" b="1" dirty="0" smtClean="0">
                <a:solidFill>
                  <a:schemeClr val="bg1"/>
                </a:solidFill>
              </a:rPr>
              <a:t>5,8 </a:t>
            </a:r>
            <a:r>
              <a:rPr lang="nb-NO" sz="1867" b="1" dirty="0">
                <a:solidFill>
                  <a:schemeClr val="bg1"/>
                </a:solidFill>
              </a:rPr>
              <a:t>%</a:t>
            </a:r>
            <a:r>
              <a:rPr lang="nb-NO" sz="2800" b="1" dirty="0">
                <a:solidFill>
                  <a:srgbClr val="FF0000"/>
                </a:solidFill>
              </a:rPr>
              <a:t>	</a:t>
            </a: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951830" y="1457380"/>
            <a:ext cx="576064" cy="49062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34"/>
            <a:endParaRPr lang="nb-NO" sz="1867">
              <a:solidFill>
                <a:prstClr val="white"/>
              </a:solidFill>
            </a:endParaRPr>
          </a:p>
        </p:txBody>
      </p:sp>
      <p:graphicFrame>
        <p:nvGraphicFramePr>
          <p:cNvPr id="13" name="Diagram 12"/>
          <p:cNvGraphicFramePr/>
          <p:nvPr>
            <p:extLst/>
          </p:nvPr>
        </p:nvGraphicFramePr>
        <p:xfrm>
          <a:off x="156963" y="1026585"/>
          <a:ext cx="764395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15680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e 15"/>
          <p:cNvGrpSpPr/>
          <p:nvPr/>
        </p:nvGrpSpPr>
        <p:grpSpPr>
          <a:xfrm>
            <a:off x="-56705" y="-50553"/>
            <a:ext cx="5379236" cy="6908553"/>
            <a:chOff x="-21197" y="-37915"/>
            <a:chExt cx="4069782" cy="5226822"/>
          </a:xfrm>
        </p:grpSpPr>
        <p:grpSp>
          <p:nvGrpSpPr>
            <p:cNvPr id="8" name="Gruppe 7"/>
            <p:cNvGrpSpPr/>
            <p:nvPr/>
          </p:nvGrpSpPr>
          <p:grpSpPr>
            <a:xfrm>
              <a:off x="-21197" y="0"/>
              <a:ext cx="3524878" cy="5188907"/>
              <a:chOff x="3131129" y="51311"/>
              <a:chExt cx="3524878" cy="5188907"/>
            </a:xfrm>
          </p:grpSpPr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2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31129" y="51311"/>
                <a:ext cx="3524878" cy="5188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" name="Bilde 6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869960" y="843558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0" name="Bilde 9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3523444" y="1210921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1" name="Bilde 10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661248" y="2365055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2" name="Bilde 11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520893" y="3075806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3" name="Bilde 12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123718" y="3723878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4" name="Bilde 13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612859" y="4151066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5" name="Bilde 14"/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509119" y="908242"/>
                <a:ext cx="216025" cy="216025"/>
              </a:xfrm>
              <a:prstGeom prst="rect">
                <a:avLst/>
              </a:prstGeom>
            </p:spPr>
          </p:pic>
        </p:grpSp>
        <p:sp>
          <p:nvSpPr>
            <p:cNvPr id="9" name="Frihåndsform 8"/>
            <p:cNvSpPr/>
            <p:nvPr/>
          </p:nvSpPr>
          <p:spPr>
            <a:xfrm>
              <a:off x="2787343" y="-37915"/>
              <a:ext cx="1261242" cy="4187508"/>
            </a:xfrm>
            <a:custGeom>
              <a:avLst/>
              <a:gdLst>
                <a:gd name="connsiteX0" fmla="*/ 725214 w 1261242"/>
                <a:gd name="connsiteY0" fmla="*/ 4187399 h 4187508"/>
                <a:gd name="connsiteX1" fmla="*/ 687377 w 1261242"/>
                <a:gd name="connsiteY1" fmla="*/ 4174787 h 4187508"/>
                <a:gd name="connsiteX2" fmla="*/ 599090 w 1261242"/>
                <a:gd name="connsiteY2" fmla="*/ 4086500 h 4187508"/>
                <a:gd name="connsiteX3" fmla="*/ 567559 w 1261242"/>
                <a:gd name="connsiteY3" fmla="*/ 4048663 h 4187508"/>
                <a:gd name="connsiteX4" fmla="*/ 460354 w 1261242"/>
                <a:gd name="connsiteY4" fmla="*/ 3972988 h 4187508"/>
                <a:gd name="connsiteX5" fmla="*/ 441435 w 1261242"/>
                <a:gd name="connsiteY5" fmla="*/ 3947763 h 4187508"/>
                <a:gd name="connsiteX6" fmla="*/ 435129 w 1261242"/>
                <a:gd name="connsiteY6" fmla="*/ 3928845 h 4187508"/>
                <a:gd name="connsiteX7" fmla="*/ 403598 w 1261242"/>
                <a:gd name="connsiteY7" fmla="*/ 3891007 h 4187508"/>
                <a:gd name="connsiteX8" fmla="*/ 384679 w 1261242"/>
                <a:gd name="connsiteY8" fmla="*/ 3840558 h 4187508"/>
                <a:gd name="connsiteX9" fmla="*/ 372067 w 1261242"/>
                <a:gd name="connsiteY9" fmla="*/ 3790108 h 4187508"/>
                <a:gd name="connsiteX10" fmla="*/ 334229 w 1261242"/>
                <a:gd name="connsiteY10" fmla="*/ 3752271 h 4187508"/>
                <a:gd name="connsiteX11" fmla="*/ 327923 w 1261242"/>
                <a:gd name="connsiteY11" fmla="*/ 3733352 h 4187508"/>
                <a:gd name="connsiteX12" fmla="*/ 315311 w 1261242"/>
                <a:gd name="connsiteY12" fmla="*/ 3657678 h 4187508"/>
                <a:gd name="connsiteX13" fmla="*/ 309005 w 1261242"/>
                <a:gd name="connsiteY13" fmla="*/ 3613534 h 4187508"/>
                <a:gd name="connsiteX14" fmla="*/ 302698 w 1261242"/>
                <a:gd name="connsiteY14" fmla="*/ 3594616 h 4187508"/>
                <a:gd name="connsiteX15" fmla="*/ 296392 w 1261242"/>
                <a:gd name="connsiteY15" fmla="*/ 3569391 h 4187508"/>
                <a:gd name="connsiteX16" fmla="*/ 283780 w 1261242"/>
                <a:gd name="connsiteY16" fmla="*/ 3518941 h 4187508"/>
                <a:gd name="connsiteX17" fmla="*/ 290086 w 1261242"/>
                <a:gd name="connsiteY17" fmla="*/ 3373898 h 4187508"/>
                <a:gd name="connsiteX18" fmla="*/ 296392 w 1261242"/>
                <a:gd name="connsiteY18" fmla="*/ 3342367 h 4187508"/>
                <a:gd name="connsiteX19" fmla="*/ 271167 w 1261242"/>
                <a:gd name="connsiteY19" fmla="*/ 3153181 h 4187508"/>
                <a:gd name="connsiteX20" fmla="*/ 252249 w 1261242"/>
                <a:gd name="connsiteY20" fmla="*/ 3127956 h 4187508"/>
                <a:gd name="connsiteX21" fmla="*/ 245943 w 1261242"/>
                <a:gd name="connsiteY21" fmla="*/ 3109038 h 4187508"/>
                <a:gd name="connsiteX22" fmla="*/ 233330 w 1261242"/>
                <a:gd name="connsiteY22" fmla="*/ 3096425 h 4187508"/>
                <a:gd name="connsiteX23" fmla="*/ 220718 w 1261242"/>
                <a:gd name="connsiteY23" fmla="*/ 3033363 h 4187508"/>
                <a:gd name="connsiteX24" fmla="*/ 208105 w 1261242"/>
                <a:gd name="connsiteY24" fmla="*/ 3020751 h 4187508"/>
                <a:gd name="connsiteX25" fmla="*/ 195493 w 1261242"/>
                <a:gd name="connsiteY25" fmla="*/ 2938770 h 4187508"/>
                <a:gd name="connsiteX26" fmla="*/ 189187 w 1261242"/>
                <a:gd name="connsiteY26" fmla="*/ 2919852 h 4187508"/>
                <a:gd name="connsiteX27" fmla="*/ 182880 w 1261242"/>
                <a:gd name="connsiteY27" fmla="*/ 2856789 h 4187508"/>
                <a:gd name="connsiteX28" fmla="*/ 170268 w 1261242"/>
                <a:gd name="connsiteY28" fmla="*/ 2831565 h 4187508"/>
                <a:gd name="connsiteX29" fmla="*/ 163962 w 1261242"/>
                <a:gd name="connsiteY29" fmla="*/ 2800034 h 4187508"/>
                <a:gd name="connsiteX30" fmla="*/ 145043 w 1261242"/>
                <a:gd name="connsiteY30" fmla="*/ 2755890 h 4187508"/>
                <a:gd name="connsiteX31" fmla="*/ 138737 w 1261242"/>
                <a:gd name="connsiteY31" fmla="*/ 2736972 h 4187508"/>
                <a:gd name="connsiteX32" fmla="*/ 119818 w 1261242"/>
                <a:gd name="connsiteY32" fmla="*/ 2724359 h 4187508"/>
                <a:gd name="connsiteX33" fmla="*/ 88287 w 1261242"/>
                <a:gd name="connsiteY33" fmla="*/ 2692828 h 4187508"/>
                <a:gd name="connsiteX34" fmla="*/ 81981 w 1261242"/>
                <a:gd name="connsiteY34" fmla="*/ 2516254 h 4187508"/>
                <a:gd name="connsiteX35" fmla="*/ 88287 w 1261242"/>
                <a:gd name="connsiteY35" fmla="*/ 2169413 h 4187508"/>
                <a:gd name="connsiteX36" fmla="*/ 94594 w 1261242"/>
                <a:gd name="connsiteY36" fmla="*/ 2144188 h 4187508"/>
                <a:gd name="connsiteX37" fmla="*/ 145043 w 1261242"/>
                <a:gd name="connsiteY37" fmla="*/ 2100045 h 4187508"/>
                <a:gd name="connsiteX38" fmla="*/ 163962 w 1261242"/>
                <a:gd name="connsiteY38" fmla="*/ 2081126 h 4187508"/>
                <a:gd name="connsiteX39" fmla="*/ 176574 w 1261242"/>
                <a:gd name="connsiteY39" fmla="*/ 2030676 h 4187508"/>
                <a:gd name="connsiteX40" fmla="*/ 182880 w 1261242"/>
                <a:gd name="connsiteY40" fmla="*/ 2011758 h 4187508"/>
                <a:gd name="connsiteX41" fmla="*/ 195493 w 1261242"/>
                <a:gd name="connsiteY41" fmla="*/ 1999145 h 4187508"/>
                <a:gd name="connsiteX42" fmla="*/ 208105 w 1261242"/>
                <a:gd name="connsiteY42" fmla="*/ 1929777 h 4187508"/>
                <a:gd name="connsiteX43" fmla="*/ 214411 w 1261242"/>
                <a:gd name="connsiteY43" fmla="*/ 1910858 h 4187508"/>
                <a:gd name="connsiteX44" fmla="*/ 220718 w 1261242"/>
                <a:gd name="connsiteY44" fmla="*/ 1873021 h 4187508"/>
                <a:gd name="connsiteX45" fmla="*/ 227024 w 1261242"/>
                <a:gd name="connsiteY45" fmla="*/ 1822572 h 4187508"/>
                <a:gd name="connsiteX46" fmla="*/ 239636 w 1261242"/>
                <a:gd name="connsiteY46" fmla="*/ 1784734 h 4187508"/>
                <a:gd name="connsiteX47" fmla="*/ 252249 w 1261242"/>
                <a:gd name="connsiteY47" fmla="*/ 1734285 h 4187508"/>
                <a:gd name="connsiteX48" fmla="*/ 271167 w 1261242"/>
                <a:gd name="connsiteY48" fmla="*/ 1721672 h 4187508"/>
                <a:gd name="connsiteX49" fmla="*/ 283780 w 1261242"/>
                <a:gd name="connsiteY49" fmla="*/ 1683835 h 4187508"/>
                <a:gd name="connsiteX50" fmla="*/ 271167 w 1261242"/>
                <a:gd name="connsiteY50" fmla="*/ 1519874 h 4187508"/>
                <a:gd name="connsiteX51" fmla="*/ 252249 w 1261242"/>
                <a:gd name="connsiteY51" fmla="*/ 1456812 h 4187508"/>
                <a:gd name="connsiteX52" fmla="*/ 245943 w 1261242"/>
                <a:gd name="connsiteY52" fmla="*/ 1437893 h 4187508"/>
                <a:gd name="connsiteX53" fmla="*/ 239636 w 1261242"/>
                <a:gd name="connsiteY53" fmla="*/ 1387443 h 4187508"/>
                <a:gd name="connsiteX54" fmla="*/ 233330 w 1261242"/>
                <a:gd name="connsiteY54" fmla="*/ 1368525 h 4187508"/>
                <a:gd name="connsiteX55" fmla="*/ 214411 w 1261242"/>
                <a:gd name="connsiteY55" fmla="*/ 1292850 h 4187508"/>
                <a:gd name="connsiteX56" fmla="*/ 195493 w 1261242"/>
                <a:gd name="connsiteY56" fmla="*/ 1286544 h 4187508"/>
                <a:gd name="connsiteX57" fmla="*/ 182880 w 1261242"/>
                <a:gd name="connsiteY57" fmla="*/ 1273932 h 4187508"/>
                <a:gd name="connsiteX58" fmla="*/ 138737 w 1261242"/>
                <a:gd name="connsiteY58" fmla="*/ 1261319 h 4187508"/>
                <a:gd name="connsiteX59" fmla="*/ 119818 w 1261242"/>
                <a:gd name="connsiteY59" fmla="*/ 1248707 h 4187508"/>
                <a:gd name="connsiteX60" fmla="*/ 107206 w 1261242"/>
                <a:gd name="connsiteY60" fmla="*/ 1236094 h 4187508"/>
                <a:gd name="connsiteX61" fmla="*/ 88287 w 1261242"/>
                <a:gd name="connsiteY61" fmla="*/ 1229788 h 4187508"/>
                <a:gd name="connsiteX62" fmla="*/ 75675 w 1261242"/>
                <a:gd name="connsiteY62" fmla="*/ 1210869 h 4187508"/>
                <a:gd name="connsiteX63" fmla="*/ 69369 w 1261242"/>
                <a:gd name="connsiteY63" fmla="*/ 1191951 h 4187508"/>
                <a:gd name="connsiteX64" fmla="*/ 56756 w 1261242"/>
                <a:gd name="connsiteY64" fmla="*/ 1179338 h 4187508"/>
                <a:gd name="connsiteX65" fmla="*/ 50450 w 1261242"/>
                <a:gd name="connsiteY65" fmla="*/ 1160420 h 4187508"/>
                <a:gd name="connsiteX66" fmla="*/ 56756 w 1261242"/>
                <a:gd name="connsiteY66" fmla="*/ 1141501 h 4187508"/>
                <a:gd name="connsiteX67" fmla="*/ 31531 w 1261242"/>
                <a:gd name="connsiteY67" fmla="*/ 1109970 h 4187508"/>
                <a:gd name="connsiteX68" fmla="*/ 25225 w 1261242"/>
                <a:gd name="connsiteY68" fmla="*/ 1021683 h 4187508"/>
                <a:gd name="connsiteX69" fmla="*/ 18919 w 1261242"/>
                <a:gd name="connsiteY69" fmla="*/ 1002765 h 4187508"/>
                <a:gd name="connsiteX70" fmla="*/ 25225 w 1261242"/>
                <a:gd name="connsiteY70" fmla="*/ 920784 h 4187508"/>
                <a:gd name="connsiteX71" fmla="*/ 12613 w 1261242"/>
                <a:gd name="connsiteY71" fmla="*/ 851416 h 4187508"/>
                <a:gd name="connsiteX72" fmla="*/ 0 w 1261242"/>
                <a:gd name="connsiteY72" fmla="*/ 838803 h 4187508"/>
                <a:gd name="connsiteX73" fmla="*/ 12613 w 1261242"/>
                <a:gd name="connsiteY73" fmla="*/ 813578 h 4187508"/>
                <a:gd name="connsiteX74" fmla="*/ 25225 w 1261242"/>
                <a:gd name="connsiteY74" fmla="*/ 794660 h 4187508"/>
                <a:gd name="connsiteX75" fmla="*/ 31531 w 1261242"/>
                <a:gd name="connsiteY75" fmla="*/ 775741 h 4187508"/>
                <a:gd name="connsiteX76" fmla="*/ 37838 w 1261242"/>
                <a:gd name="connsiteY76" fmla="*/ 668536 h 4187508"/>
                <a:gd name="connsiteX77" fmla="*/ 44144 w 1261242"/>
                <a:gd name="connsiteY77" fmla="*/ 649617 h 4187508"/>
                <a:gd name="connsiteX78" fmla="*/ 63063 w 1261242"/>
                <a:gd name="connsiteY78" fmla="*/ 637005 h 4187508"/>
                <a:gd name="connsiteX79" fmla="*/ 81981 w 1261242"/>
                <a:gd name="connsiteY79" fmla="*/ 618086 h 4187508"/>
                <a:gd name="connsiteX80" fmla="*/ 94594 w 1261242"/>
                <a:gd name="connsiteY80" fmla="*/ 592861 h 4187508"/>
                <a:gd name="connsiteX81" fmla="*/ 145043 w 1261242"/>
                <a:gd name="connsiteY81" fmla="*/ 555024 h 4187508"/>
                <a:gd name="connsiteX82" fmla="*/ 151349 w 1261242"/>
                <a:gd name="connsiteY82" fmla="*/ 536105 h 4187508"/>
                <a:gd name="connsiteX83" fmla="*/ 163962 w 1261242"/>
                <a:gd name="connsiteY83" fmla="*/ 447818 h 4187508"/>
                <a:gd name="connsiteX84" fmla="*/ 170268 w 1261242"/>
                <a:gd name="connsiteY84" fmla="*/ 403675 h 4187508"/>
                <a:gd name="connsiteX85" fmla="*/ 182880 w 1261242"/>
                <a:gd name="connsiteY85" fmla="*/ 365838 h 4187508"/>
                <a:gd name="connsiteX86" fmla="*/ 163962 w 1261242"/>
                <a:gd name="connsiteY86" fmla="*/ 359532 h 4187508"/>
                <a:gd name="connsiteX87" fmla="*/ 151349 w 1261242"/>
                <a:gd name="connsiteY87" fmla="*/ 372144 h 4187508"/>
                <a:gd name="connsiteX88" fmla="*/ 163962 w 1261242"/>
                <a:gd name="connsiteY88" fmla="*/ 346919 h 4187508"/>
                <a:gd name="connsiteX89" fmla="*/ 189187 w 1261242"/>
                <a:gd name="connsiteY89" fmla="*/ 296469 h 4187508"/>
                <a:gd name="connsiteX90" fmla="*/ 208105 w 1261242"/>
                <a:gd name="connsiteY90" fmla="*/ 283857 h 4187508"/>
                <a:gd name="connsiteX91" fmla="*/ 220718 w 1261242"/>
                <a:gd name="connsiteY91" fmla="*/ 271245 h 4187508"/>
                <a:gd name="connsiteX92" fmla="*/ 277474 w 1261242"/>
                <a:gd name="connsiteY92" fmla="*/ 252326 h 4187508"/>
                <a:gd name="connsiteX93" fmla="*/ 296392 w 1261242"/>
                <a:gd name="connsiteY93" fmla="*/ 246020 h 4187508"/>
                <a:gd name="connsiteX94" fmla="*/ 315311 w 1261242"/>
                <a:gd name="connsiteY94" fmla="*/ 239714 h 4187508"/>
                <a:gd name="connsiteX95" fmla="*/ 378373 w 1261242"/>
                <a:gd name="connsiteY95" fmla="*/ 258632 h 4187508"/>
                <a:gd name="connsiteX96" fmla="*/ 416210 w 1261242"/>
                <a:gd name="connsiteY96" fmla="*/ 252326 h 4187508"/>
                <a:gd name="connsiteX97" fmla="*/ 435129 w 1261242"/>
                <a:gd name="connsiteY97" fmla="*/ 246020 h 4187508"/>
                <a:gd name="connsiteX98" fmla="*/ 485578 w 1261242"/>
                <a:gd name="connsiteY98" fmla="*/ 239714 h 4187508"/>
                <a:gd name="connsiteX99" fmla="*/ 491885 w 1261242"/>
                <a:gd name="connsiteY99" fmla="*/ 220795 h 4187508"/>
                <a:gd name="connsiteX100" fmla="*/ 498191 w 1261242"/>
                <a:gd name="connsiteY100" fmla="*/ 195570 h 4187508"/>
                <a:gd name="connsiteX101" fmla="*/ 548640 w 1261242"/>
                <a:gd name="connsiteY101" fmla="*/ 151427 h 4187508"/>
                <a:gd name="connsiteX102" fmla="*/ 567559 w 1261242"/>
                <a:gd name="connsiteY102" fmla="*/ 145121 h 4187508"/>
                <a:gd name="connsiteX103" fmla="*/ 586478 w 1261242"/>
                <a:gd name="connsiteY103" fmla="*/ 126202 h 4187508"/>
                <a:gd name="connsiteX104" fmla="*/ 630621 w 1261242"/>
                <a:gd name="connsiteY104" fmla="*/ 100977 h 4187508"/>
                <a:gd name="connsiteX105" fmla="*/ 655846 w 1261242"/>
                <a:gd name="connsiteY105" fmla="*/ 75752 h 4187508"/>
                <a:gd name="connsiteX106" fmla="*/ 693683 w 1261242"/>
                <a:gd name="connsiteY106" fmla="*/ 63140 h 4187508"/>
                <a:gd name="connsiteX107" fmla="*/ 712602 w 1261242"/>
                <a:gd name="connsiteY107" fmla="*/ 56834 h 4187508"/>
                <a:gd name="connsiteX108" fmla="*/ 756745 w 1261242"/>
                <a:gd name="connsiteY108" fmla="*/ 37915 h 4187508"/>
                <a:gd name="connsiteX109" fmla="*/ 800889 w 1261242"/>
                <a:gd name="connsiteY109" fmla="*/ 18996 h 4187508"/>
                <a:gd name="connsiteX110" fmla="*/ 819807 w 1261242"/>
                <a:gd name="connsiteY110" fmla="*/ 6384 h 4187508"/>
                <a:gd name="connsiteX111" fmla="*/ 914400 w 1261242"/>
                <a:gd name="connsiteY111" fmla="*/ 6384 h 4187508"/>
                <a:gd name="connsiteX112" fmla="*/ 964850 w 1261242"/>
                <a:gd name="connsiteY112" fmla="*/ 25303 h 4187508"/>
                <a:gd name="connsiteX113" fmla="*/ 983769 w 1261242"/>
                <a:gd name="connsiteY113" fmla="*/ 37915 h 4187508"/>
                <a:gd name="connsiteX114" fmla="*/ 1002687 w 1261242"/>
                <a:gd name="connsiteY114" fmla="*/ 63140 h 4187508"/>
                <a:gd name="connsiteX115" fmla="*/ 1015300 w 1261242"/>
                <a:gd name="connsiteY115" fmla="*/ 100977 h 4187508"/>
                <a:gd name="connsiteX116" fmla="*/ 1021606 w 1261242"/>
                <a:gd name="connsiteY116" fmla="*/ 164039 h 4187508"/>
                <a:gd name="connsiteX117" fmla="*/ 1027912 w 1261242"/>
                <a:gd name="connsiteY117" fmla="*/ 208183 h 4187508"/>
                <a:gd name="connsiteX118" fmla="*/ 1034218 w 1261242"/>
                <a:gd name="connsiteY118" fmla="*/ 309082 h 4187508"/>
                <a:gd name="connsiteX119" fmla="*/ 1046831 w 1261242"/>
                <a:gd name="connsiteY119" fmla="*/ 353225 h 4187508"/>
                <a:gd name="connsiteX120" fmla="*/ 1065749 w 1261242"/>
                <a:gd name="connsiteY120" fmla="*/ 428900 h 4187508"/>
                <a:gd name="connsiteX121" fmla="*/ 1072056 w 1261242"/>
                <a:gd name="connsiteY121" fmla="*/ 473043 h 4187508"/>
                <a:gd name="connsiteX122" fmla="*/ 1059443 w 1261242"/>
                <a:gd name="connsiteY122" fmla="*/ 763129 h 4187508"/>
                <a:gd name="connsiteX123" fmla="*/ 1046831 w 1261242"/>
                <a:gd name="connsiteY123" fmla="*/ 1040602 h 4187508"/>
                <a:gd name="connsiteX124" fmla="*/ 1040525 w 1261242"/>
                <a:gd name="connsiteY124" fmla="*/ 1210869 h 4187508"/>
                <a:gd name="connsiteX125" fmla="*/ 1027912 w 1261242"/>
                <a:gd name="connsiteY125" fmla="*/ 1292850 h 4187508"/>
                <a:gd name="connsiteX126" fmla="*/ 1021606 w 1261242"/>
                <a:gd name="connsiteY126" fmla="*/ 1374831 h 4187508"/>
                <a:gd name="connsiteX127" fmla="*/ 1015300 w 1261242"/>
                <a:gd name="connsiteY127" fmla="*/ 1437893 h 4187508"/>
                <a:gd name="connsiteX128" fmla="*/ 1008994 w 1261242"/>
                <a:gd name="connsiteY128" fmla="*/ 1513567 h 4187508"/>
                <a:gd name="connsiteX129" fmla="*/ 990075 w 1261242"/>
                <a:gd name="connsiteY129" fmla="*/ 1721672 h 4187508"/>
                <a:gd name="connsiteX130" fmla="*/ 1002687 w 1261242"/>
                <a:gd name="connsiteY130" fmla="*/ 2068514 h 4187508"/>
                <a:gd name="connsiteX131" fmla="*/ 1015300 w 1261242"/>
                <a:gd name="connsiteY131" fmla="*/ 2137882 h 4187508"/>
                <a:gd name="connsiteX132" fmla="*/ 1021606 w 1261242"/>
                <a:gd name="connsiteY132" fmla="*/ 2175719 h 4187508"/>
                <a:gd name="connsiteX133" fmla="*/ 1034218 w 1261242"/>
                <a:gd name="connsiteY133" fmla="*/ 2219863 h 4187508"/>
                <a:gd name="connsiteX134" fmla="*/ 1046831 w 1261242"/>
                <a:gd name="connsiteY134" fmla="*/ 2301843 h 4187508"/>
                <a:gd name="connsiteX135" fmla="*/ 1065749 w 1261242"/>
                <a:gd name="connsiteY135" fmla="*/ 2358599 h 4187508"/>
                <a:gd name="connsiteX136" fmla="*/ 1078362 w 1261242"/>
                <a:gd name="connsiteY136" fmla="*/ 2409049 h 4187508"/>
                <a:gd name="connsiteX137" fmla="*/ 1084668 w 1261242"/>
                <a:gd name="connsiteY137" fmla="*/ 2465805 h 4187508"/>
                <a:gd name="connsiteX138" fmla="*/ 1090974 w 1261242"/>
                <a:gd name="connsiteY138" fmla="*/ 2497336 h 4187508"/>
                <a:gd name="connsiteX139" fmla="*/ 1097280 w 1261242"/>
                <a:gd name="connsiteY139" fmla="*/ 2554092 h 4187508"/>
                <a:gd name="connsiteX140" fmla="*/ 1103587 w 1261242"/>
                <a:gd name="connsiteY140" fmla="*/ 2598235 h 4187508"/>
                <a:gd name="connsiteX141" fmla="*/ 1109893 w 1261242"/>
                <a:gd name="connsiteY141" fmla="*/ 2686522 h 4187508"/>
                <a:gd name="connsiteX142" fmla="*/ 1122505 w 1261242"/>
                <a:gd name="connsiteY142" fmla="*/ 2781115 h 4187508"/>
                <a:gd name="connsiteX143" fmla="*/ 1128811 w 1261242"/>
                <a:gd name="connsiteY143" fmla="*/ 2831565 h 4187508"/>
                <a:gd name="connsiteX144" fmla="*/ 1141424 w 1261242"/>
                <a:gd name="connsiteY144" fmla="*/ 2888321 h 4187508"/>
                <a:gd name="connsiteX145" fmla="*/ 1147730 w 1261242"/>
                <a:gd name="connsiteY145" fmla="*/ 2932464 h 4187508"/>
                <a:gd name="connsiteX146" fmla="*/ 1172955 w 1261242"/>
                <a:gd name="connsiteY146" fmla="*/ 3008138 h 4187508"/>
                <a:gd name="connsiteX147" fmla="*/ 1198180 w 1261242"/>
                <a:gd name="connsiteY147" fmla="*/ 3090119 h 4187508"/>
                <a:gd name="connsiteX148" fmla="*/ 1210792 w 1261242"/>
                <a:gd name="connsiteY148" fmla="*/ 3209937 h 4187508"/>
                <a:gd name="connsiteX149" fmla="*/ 1223405 w 1261242"/>
                <a:gd name="connsiteY149" fmla="*/ 3266693 h 4187508"/>
                <a:gd name="connsiteX150" fmla="*/ 1229711 w 1261242"/>
                <a:gd name="connsiteY150" fmla="*/ 3310836 h 4187508"/>
                <a:gd name="connsiteX151" fmla="*/ 1242323 w 1261242"/>
                <a:gd name="connsiteY151" fmla="*/ 3354980 h 4187508"/>
                <a:gd name="connsiteX152" fmla="*/ 1248629 w 1261242"/>
                <a:gd name="connsiteY152" fmla="*/ 3392817 h 4187508"/>
                <a:gd name="connsiteX153" fmla="*/ 1261242 w 1261242"/>
                <a:gd name="connsiteY153" fmla="*/ 3512635 h 4187508"/>
                <a:gd name="connsiteX154" fmla="*/ 1254936 w 1261242"/>
                <a:gd name="connsiteY154" fmla="*/ 3613534 h 4187508"/>
                <a:gd name="connsiteX155" fmla="*/ 1242323 w 1261242"/>
                <a:gd name="connsiteY155" fmla="*/ 3657678 h 4187508"/>
                <a:gd name="connsiteX156" fmla="*/ 1236017 w 1261242"/>
                <a:gd name="connsiteY156" fmla="*/ 3727046 h 4187508"/>
                <a:gd name="connsiteX157" fmla="*/ 1229711 w 1261242"/>
                <a:gd name="connsiteY157" fmla="*/ 3752271 h 4187508"/>
                <a:gd name="connsiteX158" fmla="*/ 1210792 w 1261242"/>
                <a:gd name="connsiteY158" fmla="*/ 3809027 h 4187508"/>
                <a:gd name="connsiteX159" fmla="*/ 1204486 w 1261242"/>
                <a:gd name="connsiteY159" fmla="*/ 3840558 h 4187508"/>
                <a:gd name="connsiteX160" fmla="*/ 1191874 w 1261242"/>
                <a:gd name="connsiteY160" fmla="*/ 3859476 h 4187508"/>
                <a:gd name="connsiteX161" fmla="*/ 1179261 w 1261242"/>
                <a:gd name="connsiteY161" fmla="*/ 3891007 h 4187508"/>
                <a:gd name="connsiteX162" fmla="*/ 1154036 w 1261242"/>
                <a:gd name="connsiteY162" fmla="*/ 3928845 h 4187508"/>
                <a:gd name="connsiteX163" fmla="*/ 1103587 w 1261242"/>
                <a:gd name="connsiteY163" fmla="*/ 3960376 h 4187508"/>
                <a:gd name="connsiteX164" fmla="*/ 1065749 w 1261242"/>
                <a:gd name="connsiteY164" fmla="*/ 4010825 h 4187508"/>
                <a:gd name="connsiteX165" fmla="*/ 1053137 w 1261242"/>
                <a:gd name="connsiteY165" fmla="*/ 4023438 h 4187508"/>
                <a:gd name="connsiteX166" fmla="*/ 1027912 w 1261242"/>
                <a:gd name="connsiteY166" fmla="*/ 4054969 h 4187508"/>
                <a:gd name="connsiteX167" fmla="*/ 1008994 w 1261242"/>
                <a:gd name="connsiteY167" fmla="*/ 4061275 h 4187508"/>
                <a:gd name="connsiteX168" fmla="*/ 971156 w 1261242"/>
                <a:gd name="connsiteY168" fmla="*/ 4099112 h 4187508"/>
                <a:gd name="connsiteX169" fmla="*/ 958544 w 1261242"/>
                <a:gd name="connsiteY169" fmla="*/ 4118031 h 4187508"/>
                <a:gd name="connsiteX170" fmla="*/ 845032 w 1261242"/>
                <a:gd name="connsiteY170" fmla="*/ 4136949 h 4187508"/>
                <a:gd name="connsiteX171" fmla="*/ 807195 w 1261242"/>
                <a:gd name="connsiteY171" fmla="*/ 4155868 h 4187508"/>
                <a:gd name="connsiteX172" fmla="*/ 794583 w 1261242"/>
                <a:gd name="connsiteY172" fmla="*/ 4168481 h 4187508"/>
                <a:gd name="connsiteX173" fmla="*/ 750439 w 1261242"/>
                <a:gd name="connsiteY173" fmla="*/ 4181093 h 4187508"/>
                <a:gd name="connsiteX174" fmla="*/ 731520 w 1261242"/>
                <a:gd name="connsiteY174" fmla="*/ 4174787 h 4187508"/>
                <a:gd name="connsiteX175" fmla="*/ 712602 w 1261242"/>
                <a:gd name="connsiteY175" fmla="*/ 4181093 h 4187508"/>
                <a:gd name="connsiteX176" fmla="*/ 725214 w 1261242"/>
                <a:gd name="connsiteY176" fmla="*/ 4187399 h 4187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261242" h="4187508">
                  <a:moveTo>
                    <a:pt x="725214" y="4187399"/>
                  </a:moveTo>
                  <a:cubicBezTo>
                    <a:pt x="721010" y="4186348"/>
                    <a:pt x="697758" y="4183092"/>
                    <a:pt x="687377" y="4174787"/>
                  </a:cubicBezTo>
                  <a:cubicBezTo>
                    <a:pt x="654878" y="4148788"/>
                    <a:pt x="625734" y="4118472"/>
                    <a:pt x="599090" y="4086500"/>
                  </a:cubicBezTo>
                  <a:cubicBezTo>
                    <a:pt x="588580" y="4073888"/>
                    <a:pt x="580232" y="4059100"/>
                    <a:pt x="567559" y="4048663"/>
                  </a:cubicBezTo>
                  <a:cubicBezTo>
                    <a:pt x="544382" y="4029576"/>
                    <a:pt x="487278" y="3999912"/>
                    <a:pt x="460354" y="3972988"/>
                  </a:cubicBezTo>
                  <a:cubicBezTo>
                    <a:pt x="452922" y="3965556"/>
                    <a:pt x="447741" y="3956171"/>
                    <a:pt x="441435" y="3947763"/>
                  </a:cubicBezTo>
                  <a:cubicBezTo>
                    <a:pt x="439333" y="3941457"/>
                    <a:pt x="438102" y="3934790"/>
                    <a:pt x="435129" y="3928845"/>
                  </a:cubicBezTo>
                  <a:cubicBezTo>
                    <a:pt x="426350" y="3911287"/>
                    <a:pt x="417543" y="3904953"/>
                    <a:pt x="403598" y="3891007"/>
                  </a:cubicBezTo>
                  <a:cubicBezTo>
                    <a:pt x="399739" y="3881361"/>
                    <a:pt x="387975" y="3853741"/>
                    <a:pt x="384679" y="3840558"/>
                  </a:cubicBezTo>
                  <a:cubicBezTo>
                    <a:pt x="384140" y="3838401"/>
                    <a:pt x="377377" y="3796936"/>
                    <a:pt x="372067" y="3790108"/>
                  </a:cubicBezTo>
                  <a:cubicBezTo>
                    <a:pt x="361116" y="3776029"/>
                    <a:pt x="334229" y="3752271"/>
                    <a:pt x="334229" y="3752271"/>
                  </a:cubicBezTo>
                  <a:cubicBezTo>
                    <a:pt x="332127" y="3745965"/>
                    <a:pt x="329016" y="3739909"/>
                    <a:pt x="327923" y="3733352"/>
                  </a:cubicBezTo>
                  <a:cubicBezTo>
                    <a:pt x="313843" y="3648871"/>
                    <a:pt x="330095" y="3702029"/>
                    <a:pt x="315311" y="3657678"/>
                  </a:cubicBezTo>
                  <a:cubicBezTo>
                    <a:pt x="313209" y="3642963"/>
                    <a:pt x="311920" y="3628109"/>
                    <a:pt x="309005" y="3613534"/>
                  </a:cubicBezTo>
                  <a:cubicBezTo>
                    <a:pt x="307701" y="3607016"/>
                    <a:pt x="304524" y="3601007"/>
                    <a:pt x="302698" y="3594616"/>
                  </a:cubicBezTo>
                  <a:cubicBezTo>
                    <a:pt x="300317" y="3586282"/>
                    <a:pt x="298272" y="3577852"/>
                    <a:pt x="296392" y="3569391"/>
                  </a:cubicBezTo>
                  <a:cubicBezTo>
                    <a:pt x="286246" y="3523732"/>
                    <a:pt x="295048" y="3552748"/>
                    <a:pt x="283780" y="3518941"/>
                  </a:cubicBezTo>
                  <a:cubicBezTo>
                    <a:pt x="285882" y="3470593"/>
                    <a:pt x="286638" y="3422168"/>
                    <a:pt x="290086" y="3373898"/>
                  </a:cubicBezTo>
                  <a:cubicBezTo>
                    <a:pt x="290850" y="3363207"/>
                    <a:pt x="296392" y="3353085"/>
                    <a:pt x="296392" y="3342367"/>
                  </a:cubicBezTo>
                  <a:cubicBezTo>
                    <a:pt x="296392" y="3277776"/>
                    <a:pt x="306401" y="3209556"/>
                    <a:pt x="271167" y="3153181"/>
                  </a:cubicBezTo>
                  <a:cubicBezTo>
                    <a:pt x="265597" y="3144268"/>
                    <a:pt x="258555" y="3136364"/>
                    <a:pt x="252249" y="3127956"/>
                  </a:cubicBezTo>
                  <a:cubicBezTo>
                    <a:pt x="250147" y="3121650"/>
                    <a:pt x="249363" y="3114738"/>
                    <a:pt x="245943" y="3109038"/>
                  </a:cubicBezTo>
                  <a:cubicBezTo>
                    <a:pt x="242884" y="3103940"/>
                    <a:pt x="235418" y="3101992"/>
                    <a:pt x="233330" y="3096425"/>
                  </a:cubicBezTo>
                  <a:cubicBezTo>
                    <a:pt x="228581" y="3083761"/>
                    <a:pt x="228104" y="3048135"/>
                    <a:pt x="220718" y="3033363"/>
                  </a:cubicBezTo>
                  <a:cubicBezTo>
                    <a:pt x="218059" y="3028045"/>
                    <a:pt x="212309" y="3024955"/>
                    <a:pt x="208105" y="3020751"/>
                  </a:cubicBezTo>
                  <a:cubicBezTo>
                    <a:pt x="204276" y="2990119"/>
                    <a:pt x="202715" y="2967659"/>
                    <a:pt x="195493" y="2938770"/>
                  </a:cubicBezTo>
                  <a:cubicBezTo>
                    <a:pt x="193881" y="2932321"/>
                    <a:pt x="191289" y="2926158"/>
                    <a:pt x="189187" y="2919852"/>
                  </a:cubicBezTo>
                  <a:cubicBezTo>
                    <a:pt x="187085" y="2898831"/>
                    <a:pt x="187307" y="2877446"/>
                    <a:pt x="182880" y="2856789"/>
                  </a:cubicBezTo>
                  <a:cubicBezTo>
                    <a:pt x="180910" y="2847597"/>
                    <a:pt x="173241" y="2840483"/>
                    <a:pt x="170268" y="2831565"/>
                  </a:cubicBezTo>
                  <a:cubicBezTo>
                    <a:pt x="166879" y="2821397"/>
                    <a:pt x="166562" y="2810432"/>
                    <a:pt x="163962" y="2800034"/>
                  </a:cubicBezTo>
                  <a:cubicBezTo>
                    <a:pt x="158046" y="2776368"/>
                    <a:pt x="155874" y="2781161"/>
                    <a:pt x="145043" y="2755890"/>
                  </a:cubicBezTo>
                  <a:cubicBezTo>
                    <a:pt x="142425" y="2749780"/>
                    <a:pt x="142889" y="2742163"/>
                    <a:pt x="138737" y="2736972"/>
                  </a:cubicBezTo>
                  <a:cubicBezTo>
                    <a:pt x="134002" y="2731054"/>
                    <a:pt x="125522" y="2729350"/>
                    <a:pt x="119818" y="2724359"/>
                  </a:cubicBezTo>
                  <a:cubicBezTo>
                    <a:pt x="108632" y="2714571"/>
                    <a:pt x="88287" y="2692828"/>
                    <a:pt x="88287" y="2692828"/>
                  </a:cubicBezTo>
                  <a:cubicBezTo>
                    <a:pt x="86185" y="2633970"/>
                    <a:pt x="81981" y="2575150"/>
                    <a:pt x="81981" y="2516254"/>
                  </a:cubicBezTo>
                  <a:cubicBezTo>
                    <a:pt x="81981" y="2400621"/>
                    <a:pt x="84369" y="2284979"/>
                    <a:pt x="88287" y="2169413"/>
                  </a:cubicBezTo>
                  <a:cubicBezTo>
                    <a:pt x="88581" y="2160751"/>
                    <a:pt x="91180" y="2152154"/>
                    <a:pt x="94594" y="2144188"/>
                  </a:cubicBezTo>
                  <a:cubicBezTo>
                    <a:pt x="105105" y="2119662"/>
                    <a:pt x="121917" y="2115462"/>
                    <a:pt x="145043" y="2100045"/>
                  </a:cubicBezTo>
                  <a:cubicBezTo>
                    <a:pt x="152464" y="2095098"/>
                    <a:pt x="157656" y="2087432"/>
                    <a:pt x="163962" y="2081126"/>
                  </a:cubicBezTo>
                  <a:cubicBezTo>
                    <a:pt x="168166" y="2064309"/>
                    <a:pt x="171092" y="2047121"/>
                    <a:pt x="176574" y="2030676"/>
                  </a:cubicBezTo>
                  <a:cubicBezTo>
                    <a:pt x="178676" y="2024370"/>
                    <a:pt x="179460" y="2017458"/>
                    <a:pt x="182880" y="2011758"/>
                  </a:cubicBezTo>
                  <a:cubicBezTo>
                    <a:pt x="185939" y="2006660"/>
                    <a:pt x="191289" y="2003349"/>
                    <a:pt x="195493" y="1999145"/>
                  </a:cubicBezTo>
                  <a:cubicBezTo>
                    <a:pt x="209955" y="1955760"/>
                    <a:pt x="193845" y="2008213"/>
                    <a:pt x="208105" y="1929777"/>
                  </a:cubicBezTo>
                  <a:cubicBezTo>
                    <a:pt x="209294" y="1923237"/>
                    <a:pt x="212969" y="1917347"/>
                    <a:pt x="214411" y="1910858"/>
                  </a:cubicBezTo>
                  <a:cubicBezTo>
                    <a:pt x="217185" y="1898376"/>
                    <a:pt x="218910" y="1885679"/>
                    <a:pt x="220718" y="1873021"/>
                  </a:cubicBezTo>
                  <a:cubicBezTo>
                    <a:pt x="223115" y="1856244"/>
                    <a:pt x="223473" y="1839143"/>
                    <a:pt x="227024" y="1822572"/>
                  </a:cubicBezTo>
                  <a:cubicBezTo>
                    <a:pt x="229810" y="1809572"/>
                    <a:pt x="235432" y="1797347"/>
                    <a:pt x="239636" y="1784734"/>
                  </a:cubicBezTo>
                  <a:cubicBezTo>
                    <a:pt x="240308" y="1782718"/>
                    <a:pt x="246857" y="1741026"/>
                    <a:pt x="252249" y="1734285"/>
                  </a:cubicBezTo>
                  <a:cubicBezTo>
                    <a:pt x="256984" y="1728367"/>
                    <a:pt x="264861" y="1725876"/>
                    <a:pt x="271167" y="1721672"/>
                  </a:cubicBezTo>
                  <a:cubicBezTo>
                    <a:pt x="275371" y="1709060"/>
                    <a:pt x="284609" y="1697104"/>
                    <a:pt x="283780" y="1683835"/>
                  </a:cubicBezTo>
                  <a:cubicBezTo>
                    <a:pt x="281291" y="1644008"/>
                    <a:pt x="277609" y="1564964"/>
                    <a:pt x="271167" y="1519874"/>
                  </a:cubicBezTo>
                  <a:cubicBezTo>
                    <a:pt x="268784" y="1503194"/>
                    <a:pt x="256638" y="1469981"/>
                    <a:pt x="252249" y="1456812"/>
                  </a:cubicBezTo>
                  <a:lnTo>
                    <a:pt x="245943" y="1437893"/>
                  </a:lnTo>
                  <a:cubicBezTo>
                    <a:pt x="243841" y="1421076"/>
                    <a:pt x="242668" y="1404117"/>
                    <a:pt x="239636" y="1387443"/>
                  </a:cubicBezTo>
                  <a:cubicBezTo>
                    <a:pt x="238447" y="1380903"/>
                    <a:pt x="234772" y="1375014"/>
                    <a:pt x="233330" y="1368525"/>
                  </a:cubicBezTo>
                  <a:cubicBezTo>
                    <a:pt x="216348" y="1292103"/>
                    <a:pt x="239896" y="1369300"/>
                    <a:pt x="214411" y="1292850"/>
                  </a:cubicBezTo>
                  <a:cubicBezTo>
                    <a:pt x="212309" y="1286544"/>
                    <a:pt x="201799" y="1288646"/>
                    <a:pt x="195493" y="1286544"/>
                  </a:cubicBezTo>
                  <a:cubicBezTo>
                    <a:pt x="191289" y="1282340"/>
                    <a:pt x="187978" y="1276991"/>
                    <a:pt x="182880" y="1273932"/>
                  </a:cubicBezTo>
                  <a:cubicBezTo>
                    <a:pt x="176414" y="1270052"/>
                    <a:pt x="143455" y="1262498"/>
                    <a:pt x="138737" y="1261319"/>
                  </a:cubicBezTo>
                  <a:cubicBezTo>
                    <a:pt x="132431" y="1257115"/>
                    <a:pt x="125736" y="1253442"/>
                    <a:pt x="119818" y="1248707"/>
                  </a:cubicBezTo>
                  <a:cubicBezTo>
                    <a:pt x="115175" y="1244993"/>
                    <a:pt x="112304" y="1239153"/>
                    <a:pt x="107206" y="1236094"/>
                  </a:cubicBezTo>
                  <a:cubicBezTo>
                    <a:pt x="101506" y="1232674"/>
                    <a:pt x="94593" y="1231890"/>
                    <a:pt x="88287" y="1229788"/>
                  </a:cubicBezTo>
                  <a:cubicBezTo>
                    <a:pt x="84083" y="1223482"/>
                    <a:pt x="79064" y="1217648"/>
                    <a:pt x="75675" y="1210869"/>
                  </a:cubicBezTo>
                  <a:cubicBezTo>
                    <a:pt x="72702" y="1204924"/>
                    <a:pt x="72789" y="1197651"/>
                    <a:pt x="69369" y="1191951"/>
                  </a:cubicBezTo>
                  <a:cubicBezTo>
                    <a:pt x="66310" y="1186853"/>
                    <a:pt x="60960" y="1183542"/>
                    <a:pt x="56756" y="1179338"/>
                  </a:cubicBezTo>
                  <a:cubicBezTo>
                    <a:pt x="54654" y="1173032"/>
                    <a:pt x="50450" y="1167067"/>
                    <a:pt x="50450" y="1160420"/>
                  </a:cubicBezTo>
                  <a:cubicBezTo>
                    <a:pt x="50450" y="1153773"/>
                    <a:pt x="57849" y="1148058"/>
                    <a:pt x="56756" y="1141501"/>
                  </a:cubicBezTo>
                  <a:cubicBezTo>
                    <a:pt x="55165" y="1131955"/>
                    <a:pt x="38269" y="1116708"/>
                    <a:pt x="31531" y="1109970"/>
                  </a:cubicBezTo>
                  <a:cubicBezTo>
                    <a:pt x="29429" y="1080541"/>
                    <a:pt x="28672" y="1050985"/>
                    <a:pt x="25225" y="1021683"/>
                  </a:cubicBezTo>
                  <a:cubicBezTo>
                    <a:pt x="24448" y="1015081"/>
                    <a:pt x="18919" y="1009412"/>
                    <a:pt x="18919" y="1002765"/>
                  </a:cubicBezTo>
                  <a:cubicBezTo>
                    <a:pt x="18919" y="975357"/>
                    <a:pt x="23123" y="948111"/>
                    <a:pt x="25225" y="920784"/>
                  </a:cubicBezTo>
                  <a:cubicBezTo>
                    <a:pt x="24356" y="913830"/>
                    <a:pt x="21823" y="866765"/>
                    <a:pt x="12613" y="851416"/>
                  </a:cubicBezTo>
                  <a:cubicBezTo>
                    <a:pt x="9554" y="846318"/>
                    <a:pt x="4204" y="843007"/>
                    <a:pt x="0" y="838803"/>
                  </a:cubicBezTo>
                  <a:cubicBezTo>
                    <a:pt x="4204" y="830395"/>
                    <a:pt x="7949" y="821740"/>
                    <a:pt x="12613" y="813578"/>
                  </a:cubicBezTo>
                  <a:cubicBezTo>
                    <a:pt x="16373" y="806998"/>
                    <a:pt x="21836" y="801439"/>
                    <a:pt x="25225" y="794660"/>
                  </a:cubicBezTo>
                  <a:cubicBezTo>
                    <a:pt x="28198" y="788714"/>
                    <a:pt x="29429" y="782047"/>
                    <a:pt x="31531" y="775741"/>
                  </a:cubicBezTo>
                  <a:cubicBezTo>
                    <a:pt x="33633" y="740006"/>
                    <a:pt x="34276" y="704155"/>
                    <a:pt x="37838" y="668536"/>
                  </a:cubicBezTo>
                  <a:cubicBezTo>
                    <a:pt x="38499" y="661922"/>
                    <a:pt x="39991" y="654808"/>
                    <a:pt x="44144" y="649617"/>
                  </a:cubicBezTo>
                  <a:cubicBezTo>
                    <a:pt x="48879" y="643699"/>
                    <a:pt x="57241" y="641857"/>
                    <a:pt x="63063" y="637005"/>
                  </a:cubicBezTo>
                  <a:cubicBezTo>
                    <a:pt x="69914" y="631296"/>
                    <a:pt x="76797" y="625343"/>
                    <a:pt x="81981" y="618086"/>
                  </a:cubicBezTo>
                  <a:cubicBezTo>
                    <a:pt x="87445" y="610436"/>
                    <a:pt x="88403" y="599936"/>
                    <a:pt x="94594" y="592861"/>
                  </a:cubicBezTo>
                  <a:cubicBezTo>
                    <a:pt x="105080" y="580877"/>
                    <a:pt x="130108" y="564981"/>
                    <a:pt x="145043" y="555024"/>
                  </a:cubicBezTo>
                  <a:cubicBezTo>
                    <a:pt x="147145" y="548718"/>
                    <a:pt x="149737" y="542554"/>
                    <a:pt x="151349" y="536105"/>
                  </a:cubicBezTo>
                  <a:cubicBezTo>
                    <a:pt x="159935" y="501762"/>
                    <a:pt x="159055" y="487074"/>
                    <a:pt x="163962" y="447818"/>
                  </a:cubicBezTo>
                  <a:cubicBezTo>
                    <a:pt x="165806" y="433069"/>
                    <a:pt x="166926" y="418158"/>
                    <a:pt x="170268" y="403675"/>
                  </a:cubicBezTo>
                  <a:cubicBezTo>
                    <a:pt x="173257" y="390721"/>
                    <a:pt x="182880" y="365838"/>
                    <a:pt x="182880" y="365838"/>
                  </a:cubicBezTo>
                  <a:cubicBezTo>
                    <a:pt x="176574" y="363736"/>
                    <a:pt x="170480" y="358228"/>
                    <a:pt x="163962" y="359532"/>
                  </a:cubicBezTo>
                  <a:cubicBezTo>
                    <a:pt x="158132" y="360698"/>
                    <a:pt x="151349" y="378090"/>
                    <a:pt x="151349" y="372144"/>
                  </a:cubicBezTo>
                  <a:cubicBezTo>
                    <a:pt x="151349" y="362743"/>
                    <a:pt x="160471" y="355647"/>
                    <a:pt x="163962" y="346919"/>
                  </a:cubicBezTo>
                  <a:cubicBezTo>
                    <a:pt x="176927" y="314507"/>
                    <a:pt x="167856" y="313534"/>
                    <a:pt x="189187" y="296469"/>
                  </a:cubicBezTo>
                  <a:cubicBezTo>
                    <a:pt x="195105" y="291734"/>
                    <a:pt x="202187" y="288591"/>
                    <a:pt x="208105" y="283857"/>
                  </a:cubicBezTo>
                  <a:cubicBezTo>
                    <a:pt x="212748" y="280143"/>
                    <a:pt x="215400" y="273904"/>
                    <a:pt x="220718" y="271245"/>
                  </a:cubicBezTo>
                  <a:cubicBezTo>
                    <a:pt x="220728" y="271240"/>
                    <a:pt x="268009" y="255481"/>
                    <a:pt x="277474" y="252326"/>
                  </a:cubicBezTo>
                  <a:lnTo>
                    <a:pt x="296392" y="246020"/>
                  </a:lnTo>
                  <a:lnTo>
                    <a:pt x="315311" y="239714"/>
                  </a:lnTo>
                  <a:cubicBezTo>
                    <a:pt x="361370" y="255067"/>
                    <a:pt x="340250" y="249102"/>
                    <a:pt x="378373" y="258632"/>
                  </a:cubicBezTo>
                  <a:cubicBezTo>
                    <a:pt x="390985" y="256530"/>
                    <a:pt x="403728" y="255100"/>
                    <a:pt x="416210" y="252326"/>
                  </a:cubicBezTo>
                  <a:cubicBezTo>
                    <a:pt x="422699" y="250884"/>
                    <a:pt x="428589" y="247209"/>
                    <a:pt x="435129" y="246020"/>
                  </a:cubicBezTo>
                  <a:cubicBezTo>
                    <a:pt x="451803" y="242988"/>
                    <a:pt x="468762" y="241816"/>
                    <a:pt x="485578" y="239714"/>
                  </a:cubicBezTo>
                  <a:cubicBezTo>
                    <a:pt x="487680" y="233408"/>
                    <a:pt x="490059" y="227187"/>
                    <a:pt x="491885" y="220795"/>
                  </a:cubicBezTo>
                  <a:cubicBezTo>
                    <a:pt x="494266" y="212461"/>
                    <a:pt x="494777" y="203536"/>
                    <a:pt x="498191" y="195570"/>
                  </a:cubicBezTo>
                  <a:cubicBezTo>
                    <a:pt x="508701" y="171047"/>
                    <a:pt x="525519" y="166841"/>
                    <a:pt x="548640" y="151427"/>
                  </a:cubicBezTo>
                  <a:cubicBezTo>
                    <a:pt x="554171" y="147740"/>
                    <a:pt x="561253" y="147223"/>
                    <a:pt x="567559" y="145121"/>
                  </a:cubicBezTo>
                  <a:cubicBezTo>
                    <a:pt x="573865" y="138815"/>
                    <a:pt x="579221" y="131386"/>
                    <a:pt x="586478" y="126202"/>
                  </a:cubicBezTo>
                  <a:cubicBezTo>
                    <a:pt x="622261" y="100643"/>
                    <a:pt x="600835" y="126508"/>
                    <a:pt x="630621" y="100977"/>
                  </a:cubicBezTo>
                  <a:cubicBezTo>
                    <a:pt x="639649" y="93238"/>
                    <a:pt x="647438" y="84160"/>
                    <a:pt x="655846" y="75752"/>
                  </a:cubicBezTo>
                  <a:cubicBezTo>
                    <a:pt x="665247" y="66351"/>
                    <a:pt x="681071" y="67344"/>
                    <a:pt x="693683" y="63140"/>
                  </a:cubicBezTo>
                  <a:lnTo>
                    <a:pt x="712602" y="56834"/>
                  </a:lnTo>
                  <a:cubicBezTo>
                    <a:pt x="760090" y="25173"/>
                    <a:pt x="699743" y="62343"/>
                    <a:pt x="756745" y="37915"/>
                  </a:cubicBezTo>
                  <a:cubicBezTo>
                    <a:pt x="817724" y="11782"/>
                    <a:pt x="728460" y="37105"/>
                    <a:pt x="800889" y="18996"/>
                  </a:cubicBezTo>
                  <a:cubicBezTo>
                    <a:pt x="807195" y="14792"/>
                    <a:pt x="812711" y="9045"/>
                    <a:pt x="819807" y="6384"/>
                  </a:cubicBezTo>
                  <a:cubicBezTo>
                    <a:pt x="852804" y="-5990"/>
                    <a:pt x="878611" y="2805"/>
                    <a:pt x="914400" y="6384"/>
                  </a:cubicBezTo>
                  <a:cubicBezTo>
                    <a:pt x="958768" y="35961"/>
                    <a:pt x="902509" y="1925"/>
                    <a:pt x="964850" y="25303"/>
                  </a:cubicBezTo>
                  <a:cubicBezTo>
                    <a:pt x="971947" y="27964"/>
                    <a:pt x="977463" y="33711"/>
                    <a:pt x="983769" y="37915"/>
                  </a:cubicBezTo>
                  <a:cubicBezTo>
                    <a:pt x="990075" y="46323"/>
                    <a:pt x="997987" y="53739"/>
                    <a:pt x="1002687" y="63140"/>
                  </a:cubicBezTo>
                  <a:cubicBezTo>
                    <a:pt x="1008633" y="75031"/>
                    <a:pt x="1015300" y="100977"/>
                    <a:pt x="1015300" y="100977"/>
                  </a:cubicBezTo>
                  <a:cubicBezTo>
                    <a:pt x="1017402" y="121998"/>
                    <a:pt x="1019138" y="143058"/>
                    <a:pt x="1021606" y="164039"/>
                  </a:cubicBezTo>
                  <a:cubicBezTo>
                    <a:pt x="1023343" y="178801"/>
                    <a:pt x="1026624" y="193375"/>
                    <a:pt x="1027912" y="208183"/>
                  </a:cubicBezTo>
                  <a:cubicBezTo>
                    <a:pt x="1030831" y="241755"/>
                    <a:pt x="1029859" y="275666"/>
                    <a:pt x="1034218" y="309082"/>
                  </a:cubicBezTo>
                  <a:cubicBezTo>
                    <a:pt x="1036197" y="324257"/>
                    <a:pt x="1043390" y="338314"/>
                    <a:pt x="1046831" y="353225"/>
                  </a:cubicBezTo>
                  <a:cubicBezTo>
                    <a:pt x="1065941" y="436032"/>
                    <a:pt x="1038054" y="345812"/>
                    <a:pt x="1065749" y="428900"/>
                  </a:cubicBezTo>
                  <a:cubicBezTo>
                    <a:pt x="1067851" y="443614"/>
                    <a:pt x="1072056" y="458179"/>
                    <a:pt x="1072056" y="473043"/>
                  </a:cubicBezTo>
                  <a:cubicBezTo>
                    <a:pt x="1072056" y="793949"/>
                    <a:pt x="1070214" y="596177"/>
                    <a:pt x="1059443" y="763129"/>
                  </a:cubicBezTo>
                  <a:cubicBezTo>
                    <a:pt x="1055596" y="822766"/>
                    <a:pt x="1048916" y="987443"/>
                    <a:pt x="1046831" y="1040602"/>
                  </a:cubicBezTo>
                  <a:cubicBezTo>
                    <a:pt x="1044606" y="1097353"/>
                    <a:pt x="1044773" y="1154233"/>
                    <a:pt x="1040525" y="1210869"/>
                  </a:cubicBezTo>
                  <a:cubicBezTo>
                    <a:pt x="1038457" y="1238440"/>
                    <a:pt x="1032116" y="1265523"/>
                    <a:pt x="1027912" y="1292850"/>
                  </a:cubicBezTo>
                  <a:cubicBezTo>
                    <a:pt x="1025810" y="1320177"/>
                    <a:pt x="1023980" y="1347526"/>
                    <a:pt x="1021606" y="1374831"/>
                  </a:cubicBezTo>
                  <a:cubicBezTo>
                    <a:pt x="1019776" y="1395877"/>
                    <a:pt x="1017213" y="1416854"/>
                    <a:pt x="1015300" y="1437893"/>
                  </a:cubicBezTo>
                  <a:cubicBezTo>
                    <a:pt x="1013008" y="1463101"/>
                    <a:pt x="1011286" y="1488359"/>
                    <a:pt x="1008994" y="1513567"/>
                  </a:cubicBezTo>
                  <a:cubicBezTo>
                    <a:pt x="986475" y="1761269"/>
                    <a:pt x="1004348" y="1550392"/>
                    <a:pt x="990075" y="1721672"/>
                  </a:cubicBezTo>
                  <a:cubicBezTo>
                    <a:pt x="994279" y="1837286"/>
                    <a:pt x="997004" y="1952963"/>
                    <a:pt x="1002687" y="2068514"/>
                  </a:cubicBezTo>
                  <a:cubicBezTo>
                    <a:pt x="1003313" y="2081241"/>
                    <a:pt x="1012726" y="2123725"/>
                    <a:pt x="1015300" y="2137882"/>
                  </a:cubicBezTo>
                  <a:cubicBezTo>
                    <a:pt x="1017587" y="2150462"/>
                    <a:pt x="1019098" y="2163181"/>
                    <a:pt x="1021606" y="2175719"/>
                  </a:cubicBezTo>
                  <a:cubicBezTo>
                    <a:pt x="1025565" y="2195515"/>
                    <a:pt x="1028208" y="2201832"/>
                    <a:pt x="1034218" y="2219863"/>
                  </a:cubicBezTo>
                  <a:cubicBezTo>
                    <a:pt x="1038422" y="2247190"/>
                    <a:pt x="1040704" y="2274882"/>
                    <a:pt x="1046831" y="2301843"/>
                  </a:cubicBezTo>
                  <a:cubicBezTo>
                    <a:pt x="1051251" y="2321289"/>
                    <a:pt x="1060122" y="2339467"/>
                    <a:pt x="1065749" y="2358599"/>
                  </a:cubicBezTo>
                  <a:cubicBezTo>
                    <a:pt x="1070640" y="2375229"/>
                    <a:pt x="1074158" y="2392232"/>
                    <a:pt x="1078362" y="2409049"/>
                  </a:cubicBezTo>
                  <a:cubicBezTo>
                    <a:pt x="1080464" y="2427968"/>
                    <a:pt x="1081976" y="2446961"/>
                    <a:pt x="1084668" y="2465805"/>
                  </a:cubicBezTo>
                  <a:cubicBezTo>
                    <a:pt x="1086184" y="2476416"/>
                    <a:pt x="1089458" y="2486725"/>
                    <a:pt x="1090974" y="2497336"/>
                  </a:cubicBezTo>
                  <a:cubicBezTo>
                    <a:pt x="1093666" y="2516180"/>
                    <a:pt x="1094919" y="2535204"/>
                    <a:pt x="1097280" y="2554092"/>
                  </a:cubicBezTo>
                  <a:cubicBezTo>
                    <a:pt x="1099124" y="2568841"/>
                    <a:pt x="1101485" y="2583521"/>
                    <a:pt x="1103587" y="2598235"/>
                  </a:cubicBezTo>
                  <a:cubicBezTo>
                    <a:pt x="1105689" y="2627664"/>
                    <a:pt x="1107222" y="2657139"/>
                    <a:pt x="1109893" y="2686522"/>
                  </a:cubicBezTo>
                  <a:cubicBezTo>
                    <a:pt x="1112475" y="2714926"/>
                    <a:pt x="1118685" y="2752466"/>
                    <a:pt x="1122505" y="2781115"/>
                  </a:cubicBezTo>
                  <a:cubicBezTo>
                    <a:pt x="1124745" y="2797914"/>
                    <a:pt x="1125866" y="2814875"/>
                    <a:pt x="1128811" y="2831565"/>
                  </a:cubicBezTo>
                  <a:cubicBezTo>
                    <a:pt x="1132179" y="2850650"/>
                    <a:pt x="1137852" y="2869273"/>
                    <a:pt x="1141424" y="2888321"/>
                  </a:cubicBezTo>
                  <a:cubicBezTo>
                    <a:pt x="1144163" y="2902930"/>
                    <a:pt x="1144616" y="2917930"/>
                    <a:pt x="1147730" y="2932464"/>
                  </a:cubicBezTo>
                  <a:cubicBezTo>
                    <a:pt x="1157108" y="2976225"/>
                    <a:pt x="1159353" y="2970732"/>
                    <a:pt x="1172955" y="3008138"/>
                  </a:cubicBezTo>
                  <a:cubicBezTo>
                    <a:pt x="1184586" y="3040124"/>
                    <a:pt x="1188614" y="3056640"/>
                    <a:pt x="1198180" y="3090119"/>
                  </a:cubicBezTo>
                  <a:lnTo>
                    <a:pt x="1210792" y="3209937"/>
                  </a:lnTo>
                  <a:cubicBezTo>
                    <a:pt x="1212821" y="3229211"/>
                    <a:pt x="1219833" y="3247645"/>
                    <a:pt x="1223405" y="3266693"/>
                  </a:cubicBezTo>
                  <a:cubicBezTo>
                    <a:pt x="1226144" y="3281302"/>
                    <a:pt x="1227052" y="3296212"/>
                    <a:pt x="1229711" y="3310836"/>
                  </a:cubicBezTo>
                  <a:cubicBezTo>
                    <a:pt x="1243445" y="3386374"/>
                    <a:pt x="1228816" y="3294196"/>
                    <a:pt x="1242323" y="3354980"/>
                  </a:cubicBezTo>
                  <a:cubicBezTo>
                    <a:pt x="1245097" y="3367462"/>
                    <a:pt x="1246685" y="3380179"/>
                    <a:pt x="1248629" y="3392817"/>
                  </a:cubicBezTo>
                  <a:cubicBezTo>
                    <a:pt x="1257618" y="3451245"/>
                    <a:pt x="1255231" y="3440495"/>
                    <a:pt x="1261242" y="3512635"/>
                  </a:cubicBezTo>
                  <a:cubicBezTo>
                    <a:pt x="1259140" y="3546268"/>
                    <a:pt x="1259295" y="3580118"/>
                    <a:pt x="1254936" y="3613534"/>
                  </a:cubicBezTo>
                  <a:cubicBezTo>
                    <a:pt x="1252957" y="3628709"/>
                    <a:pt x="1244839" y="3642583"/>
                    <a:pt x="1242323" y="3657678"/>
                  </a:cubicBezTo>
                  <a:cubicBezTo>
                    <a:pt x="1238506" y="3680580"/>
                    <a:pt x="1239085" y="3704032"/>
                    <a:pt x="1236017" y="3727046"/>
                  </a:cubicBezTo>
                  <a:cubicBezTo>
                    <a:pt x="1234872" y="3735637"/>
                    <a:pt x="1231591" y="3743810"/>
                    <a:pt x="1229711" y="3752271"/>
                  </a:cubicBezTo>
                  <a:cubicBezTo>
                    <a:pt x="1219932" y="3796280"/>
                    <a:pt x="1229628" y="3771356"/>
                    <a:pt x="1210792" y="3809027"/>
                  </a:cubicBezTo>
                  <a:cubicBezTo>
                    <a:pt x="1208690" y="3819537"/>
                    <a:pt x="1208249" y="3830522"/>
                    <a:pt x="1204486" y="3840558"/>
                  </a:cubicBezTo>
                  <a:cubicBezTo>
                    <a:pt x="1201825" y="3847654"/>
                    <a:pt x="1195263" y="3852697"/>
                    <a:pt x="1191874" y="3859476"/>
                  </a:cubicBezTo>
                  <a:cubicBezTo>
                    <a:pt x="1186811" y="3869601"/>
                    <a:pt x="1183859" y="3880663"/>
                    <a:pt x="1179261" y="3891007"/>
                  </a:cubicBezTo>
                  <a:cubicBezTo>
                    <a:pt x="1172811" y="3905518"/>
                    <a:pt x="1167717" y="3919725"/>
                    <a:pt x="1154036" y="3928845"/>
                  </a:cubicBezTo>
                  <a:cubicBezTo>
                    <a:pt x="1129744" y="3945039"/>
                    <a:pt x="1124778" y="3937066"/>
                    <a:pt x="1103587" y="3960376"/>
                  </a:cubicBezTo>
                  <a:cubicBezTo>
                    <a:pt x="1089447" y="3975930"/>
                    <a:pt x="1078362" y="3994009"/>
                    <a:pt x="1065749" y="4010825"/>
                  </a:cubicBezTo>
                  <a:cubicBezTo>
                    <a:pt x="1062182" y="4015581"/>
                    <a:pt x="1056851" y="4018795"/>
                    <a:pt x="1053137" y="4023438"/>
                  </a:cubicBezTo>
                  <a:cubicBezTo>
                    <a:pt x="1045205" y="4033353"/>
                    <a:pt x="1039625" y="4047941"/>
                    <a:pt x="1027912" y="4054969"/>
                  </a:cubicBezTo>
                  <a:cubicBezTo>
                    <a:pt x="1022212" y="4058389"/>
                    <a:pt x="1015300" y="4059173"/>
                    <a:pt x="1008994" y="4061275"/>
                  </a:cubicBezTo>
                  <a:cubicBezTo>
                    <a:pt x="996381" y="4073887"/>
                    <a:pt x="981050" y="4084271"/>
                    <a:pt x="971156" y="4099112"/>
                  </a:cubicBezTo>
                  <a:cubicBezTo>
                    <a:pt x="966952" y="4105418"/>
                    <a:pt x="965323" y="4114642"/>
                    <a:pt x="958544" y="4118031"/>
                  </a:cubicBezTo>
                  <a:cubicBezTo>
                    <a:pt x="931941" y="4131332"/>
                    <a:pt x="871302" y="4134322"/>
                    <a:pt x="845032" y="4136949"/>
                  </a:cubicBezTo>
                  <a:cubicBezTo>
                    <a:pt x="825053" y="4143610"/>
                    <a:pt x="824656" y="4141899"/>
                    <a:pt x="807195" y="4155868"/>
                  </a:cubicBezTo>
                  <a:cubicBezTo>
                    <a:pt x="802552" y="4159582"/>
                    <a:pt x="799681" y="4165422"/>
                    <a:pt x="794583" y="4168481"/>
                  </a:cubicBezTo>
                  <a:cubicBezTo>
                    <a:pt x="788122" y="4172358"/>
                    <a:pt x="755150" y="4179915"/>
                    <a:pt x="750439" y="4181093"/>
                  </a:cubicBezTo>
                  <a:cubicBezTo>
                    <a:pt x="744133" y="4178991"/>
                    <a:pt x="738167" y="4174787"/>
                    <a:pt x="731520" y="4174787"/>
                  </a:cubicBezTo>
                  <a:cubicBezTo>
                    <a:pt x="724873" y="4174787"/>
                    <a:pt x="719051" y="4179481"/>
                    <a:pt x="712602" y="4181093"/>
                  </a:cubicBezTo>
                  <a:cubicBezTo>
                    <a:pt x="710563" y="4181603"/>
                    <a:pt x="729418" y="4188450"/>
                    <a:pt x="725214" y="41873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>
                <a:solidFill>
                  <a:prstClr val="white"/>
                </a:solidFill>
              </a:endParaRPr>
            </a:p>
          </p:txBody>
        </p:sp>
      </p:grpSp>
      <p:sp>
        <p:nvSpPr>
          <p:cNvPr id="21" name="TekstSylinder 20"/>
          <p:cNvSpPr txBox="1"/>
          <p:nvPr/>
        </p:nvSpPr>
        <p:spPr>
          <a:xfrm>
            <a:off x="4735318" y="1000670"/>
            <a:ext cx="7498693" cy="4555083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3200" b="1" dirty="0" err="1" smtClean="0">
                <a:solidFill>
                  <a:schemeClr val="accent1"/>
                </a:solidFill>
              </a:rPr>
              <a:t>SpareBank</a:t>
            </a:r>
            <a:r>
              <a:rPr lang="nb-NO" sz="3200" b="1" dirty="0" smtClean="0">
                <a:solidFill>
                  <a:schemeClr val="accent1"/>
                </a:solidFill>
              </a:rPr>
              <a:t> 1 </a:t>
            </a:r>
            <a:r>
              <a:rPr lang="nb-NO" sz="3200" b="1" dirty="0">
                <a:solidFill>
                  <a:schemeClr val="accent1"/>
                </a:solidFill>
              </a:rPr>
              <a:t>BV – sammen skaper vi verdi</a:t>
            </a:r>
          </a:p>
          <a:p>
            <a:r>
              <a:rPr lang="nb-NO" sz="2000" i="1" dirty="0" smtClean="0">
                <a:solidFill>
                  <a:schemeClr val="accent1"/>
                </a:solidFill>
              </a:rPr>
              <a:t>Lærende - engasjert - nær</a:t>
            </a:r>
          </a:p>
          <a:p>
            <a:endParaRPr lang="nb-NO" sz="20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10</a:t>
            </a:r>
            <a:endParaRPr lang="nb-NO" sz="2200" dirty="0" smtClean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Kontorer i Vestfold og Buskerud</a:t>
            </a: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332</a:t>
            </a:r>
            <a:r>
              <a:rPr lang="nb-NO" sz="2800" dirty="0" smtClean="0">
                <a:solidFill>
                  <a:schemeClr val="accent1"/>
                </a:solidFill>
              </a:rPr>
              <a:t> </a:t>
            </a: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årsverk</a:t>
            </a: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51</a:t>
            </a:r>
            <a:endParaRPr lang="nb-NO" sz="2800" b="1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Forretningskapital </a:t>
            </a:r>
            <a:r>
              <a:rPr lang="nb-NO" sz="2200" dirty="0">
                <a:solidFill>
                  <a:schemeClr val="accent1"/>
                </a:solidFill>
              </a:rPr>
              <a:t>på ca. </a:t>
            </a:r>
            <a:r>
              <a:rPr lang="nb-NO" sz="2200" dirty="0" smtClean="0">
                <a:solidFill>
                  <a:schemeClr val="accent1"/>
                </a:solidFill>
              </a:rPr>
              <a:t>51 </a:t>
            </a:r>
            <a:r>
              <a:rPr lang="nb-NO" sz="2200" dirty="0">
                <a:solidFill>
                  <a:schemeClr val="accent1"/>
                </a:solidFill>
              </a:rPr>
              <a:t>milliarder</a:t>
            </a: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</p:txBody>
      </p:sp>
      <p:sp>
        <p:nvSpPr>
          <p:cNvPr id="27" name="TekstSylinder 26"/>
          <p:cNvSpPr txBox="1"/>
          <p:nvPr/>
        </p:nvSpPr>
        <p:spPr>
          <a:xfrm>
            <a:off x="762743" y="1669208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Kongsberg</a:t>
            </a:r>
          </a:p>
        </p:txBody>
      </p:sp>
      <p:sp>
        <p:nvSpPr>
          <p:cNvPr id="30" name="TekstSylinder 29"/>
          <p:cNvSpPr txBox="1"/>
          <p:nvPr/>
        </p:nvSpPr>
        <p:spPr>
          <a:xfrm>
            <a:off x="2571720" y="1171736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Drammen</a:t>
            </a:r>
          </a:p>
        </p:txBody>
      </p:sp>
      <p:sp>
        <p:nvSpPr>
          <p:cNvPr id="31" name="TekstSylinder 30"/>
          <p:cNvSpPr txBox="1"/>
          <p:nvPr/>
        </p:nvSpPr>
        <p:spPr>
          <a:xfrm>
            <a:off x="3441116" y="414707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Tønsberg</a:t>
            </a:r>
          </a:p>
        </p:txBody>
      </p:sp>
      <p:sp>
        <p:nvSpPr>
          <p:cNvPr id="32" name="TekstSylinder 31"/>
          <p:cNvSpPr txBox="1"/>
          <p:nvPr/>
        </p:nvSpPr>
        <p:spPr>
          <a:xfrm>
            <a:off x="2264884" y="5511259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Larvik</a:t>
            </a:r>
          </a:p>
        </p:txBody>
      </p:sp>
      <p:sp>
        <p:nvSpPr>
          <p:cNvPr id="33" name="TekstSylinder 32"/>
          <p:cNvSpPr txBox="1"/>
          <p:nvPr/>
        </p:nvSpPr>
        <p:spPr>
          <a:xfrm>
            <a:off x="3614436" y="321747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Horten</a:t>
            </a:r>
          </a:p>
        </p:txBody>
      </p:sp>
      <p:sp>
        <p:nvSpPr>
          <p:cNvPr id="34" name="TekstSylinder 33"/>
          <p:cNvSpPr txBox="1"/>
          <p:nvPr/>
        </p:nvSpPr>
        <p:spPr>
          <a:xfrm>
            <a:off x="2864180" y="499776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Sandefjord</a:t>
            </a:r>
          </a:p>
        </p:txBody>
      </p:sp>
      <p:pic>
        <p:nvPicPr>
          <p:cNvPr id="28" name="Bilde 2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3221801" y="4352473"/>
            <a:ext cx="371027" cy="371027"/>
          </a:xfrm>
          <a:prstGeom prst="rect">
            <a:avLst/>
          </a:prstGeom>
        </p:spPr>
      </p:pic>
      <p:sp>
        <p:nvSpPr>
          <p:cNvPr id="35" name="TekstSylinder 34"/>
          <p:cNvSpPr txBox="1"/>
          <p:nvPr/>
        </p:nvSpPr>
        <p:spPr>
          <a:xfrm>
            <a:off x="3494043" y="4462879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Nøtterøy</a:t>
            </a:r>
          </a:p>
        </p:txBody>
      </p:sp>
      <p:pic>
        <p:nvPicPr>
          <p:cNvPr id="36" name="Bilde 3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2571721" y="709773"/>
            <a:ext cx="285531" cy="285531"/>
          </a:xfrm>
          <a:prstGeom prst="rect">
            <a:avLst/>
          </a:prstGeom>
        </p:spPr>
      </p:pic>
      <p:pic>
        <p:nvPicPr>
          <p:cNvPr id="37" name="Bilde 3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2608845" y="2566885"/>
            <a:ext cx="285531" cy="285531"/>
          </a:xfrm>
          <a:prstGeom prst="rect">
            <a:avLst/>
          </a:prstGeom>
        </p:spPr>
      </p:pic>
      <p:sp>
        <p:nvSpPr>
          <p:cNvPr id="38" name="TekstSylinder 37"/>
          <p:cNvSpPr txBox="1"/>
          <p:nvPr/>
        </p:nvSpPr>
        <p:spPr>
          <a:xfrm>
            <a:off x="2769040" y="787065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Lier</a:t>
            </a:r>
          </a:p>
        </p:txBody>
      </p:sp>
      <p:sp>
        <p:nvSpPr>
          <p:cNvPr id="39" name="TekstSylinder 38"/>
          <p:cNvSpPr txBox="1"/>
          <p:nvPr/>
        </p:nvSpPr>
        <p:spPr>
          <a:xfrm>
            <a:off x="2810328" y="2609403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Holmestrand</a:t>
            </a:r>
          </a:p>
        </p:txBody>
      </p:sp>
      <p:sp>
        <p:nvSpPr>
          <p:cNvPr id="40" name="TekstSylinder 39"/>
          <p:cNvSpPr txBox="1"/>
          <p:nvPr/>
        </p:nvSpPr>
        <p:spPr>
          <a:xfrm>
            <a:off x="1929360" y="1292405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Eiker</a:t>
            </a:r>
          </a:p>
        </p:txBody>
      </p:sp>
      <p:sp>
        <p:nvSpPr>
          <p:cNvPr id="2" name="Avrundet rektangel 1"/>
          <p:cNvSpPr/>
          <p:nvPr/>
        </p:nvSpPr>
        <p:spPr>
          <a:xfrm>
            <a:off x="10704512" y="5925279"/>
            <a:ext cx="889848" cy="31680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96036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 txBox="1">
            <a:spLocks/>
          </p:cNvSpPr>
          <p:nvPr/>
        </p:nvSpPr>
        <p:spPr>
          <a:xfrm>
            <a:off x="293420" y="6441947"/>
            <a:ext cx="203582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015E39-59DC-48A0-9676-AD2CAF5CD29F}" type="slidenum">
              <a:rPr lang="nb-NO" sz="1333">
                <a:solidFill>
                  <a:srgbClr val="032A74"/>
                </a:solidFill>
              </a:rPr>
              <a:pPr/>
              <a:t>20</a:t>
            </a:fld>
            <a:endParaRPr lang="nb-NO" sz="1333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577516" y="-254264"/>
            <a:ext cx="10799071" cy="1625060"/>
          </a:xfrm>
        </p:spPr>
        <p:txBody>
          <a:bodyPr/>
          <a:lstStyle/>
          <a:p>
            <a:r>
              <a:rPr lang="nb-NO" sz="4400" b="1" dirty="0">
                <a:solidFill>
                  <a:schemeClr val="accent1"/>
                </a:solidFill>
              </a:rPr>
              <a:t/>
            </a:r>
            <a:br>
              <a:rPr lang="nb-NO" sz="4400" b="1" dirty="0">
                <a:solidFill>
                  <a:schemeClr val="accent1"/>
                </a:solidFill>
              </a:rPr>
            </a:br>
            <a:r>
              <a:rPr lang="nb-NO" sz="3600" b="1" dirty="0" smtClean="0">
                <a:solidFill>
                  <a:schemeClr val="accent1"/>
                </a:solidFill>
              </a:rPr>
              <a:t>Sterk innskuddsvekst  i 1. kvartal og god innskuddsdekning</a:t>
            </a:r>
            <a:r>
              <a:rPr lang="nb-NO" sz="3600" dirty="0"/>
              <a:t/>
            </a:r>
            <a:br>
              <a:rPr lang="nb-NO" sz="3600" dirty="0"/>
            </a:br>
            <a:r>
              <a:rPr lang="nb-NO" sz="1600" dirty="0"/>
              <a:t> </a:t>
            </a:r>
          </a:p>
        </p:txBody>
      </p:sp>
      <p:sp>
        <p:nvSpPr>
          <p:cNvPr id="13" name="Rektangel 12"/>
          <p:cNvSpPr/>
          <p:nvPr/>
        </p:nvSpPr>
        <p:spPr>
          <a:xfrm>
            <a:off x="8524967" y="4297866"/>
            <a:ext cx="4678215" cy="2246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endParaRPr lang="nb-NO" sz="1600" dirty="0">
              <a:solidFill>
                <a:srgbClr val="135EA0"/>
              </a:solidFill>
            </a:endParaRPr>
          </a:p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sz="1600" b="1" dirty="0">
                <a:solidFill>
                  <a:srgbClr val="135EA0"/>
                </a:solidFill>
              </a:rPr>
              <a:t>Innskuddsvekst siste 12 </a:t>
            </a:r>
            <a:r>
              <a:rPr lang="nb-NO" sz="1600" b="1" dirty="0" err="1">
                <a:solidFill>
                  <a:srgbClr val="135EA0"/>
                </a:solidFill>
              </a:rPr>
              <a:t>mnd</a:t>
            </a:r>
            <a:r>
              <a:rPr lang="nb-NO" sz="1600" b="1" dirty="0">
                <a:solidFill>
                  <a:srgbClr val="135EA0"/>
                </a:solidFill>
              </a:rPr>
              <a:t> </a:t>
            </a:r>
            <a:r>
              <a:rPr lang="nb-NO" sz="1600" b="1" dirty="0" smtClean="0">
                <a:solidFill>
                  <a:srgbClr val="135EA0"/>
                </a:solidFill>
              </a:rPr>
              <a:t> 12,8 %</a:t>
            </a:r>
            <a:endParaRPr lang="nb-NO" sz="1600" b="1" dirty="0">
              <a:solidFill>
                <a:srgbClr val="135EA0"/>
              </a:solidFill>
            </a:endParaRPr>
          </a:p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sz="1600" b="1" dirty="0">
                <a:solidFill>
                  <a:srgbClr val="135EA0"/>
                </a:solidFill>
              </a:rPr>
              <a:t>Fordelt som følger:</a:t>
            </a:r>
          </a:p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sz="1600" b="1" dirty="0">
                <a:solidFill>
                  <a:srgbClr val="135EA0"/>
                </a:solidFill>
              </a:rPr>
              <a:t>PM </a:t>
            </a:r>
            <a:r>
              <a:rPr lang="nb-NO" sz="1600" b="1" dirty="0" smtClean="0">
                <a:solidFill>
                  <a:srgbClr val="135EA0"/>
                </a:solidFill>
              </a:rPr>
              <a:t>15,4 </a:t>
            </a:r>
            <a:r>
              <a:rPr lang="nb-NO" sz="1600" b="1" dirty="0">
                <a:solidFill>
                  <a:srgbClr val="135EA0"/>
                </a:solidFill>
              </a:rPr>
              <a:t>% og BM </a:t>
            </a:r>
            <a:r>
              <a:rPr lang="nb-NO" sz="1600" b="1" dirty="0" smtClean="0">
                <a:solidFill>
                  <a:srgbClr val="135EA0"/>
                </a:solidFill>
              </a:rPr>
              <a:t>9,1 %</a:t>
            </a:r>
            <a:endParaRPr lang="nb-NO" sz="1600" b="1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135EA0"/>
              </a:solidFill>
            </a:endParaRPr>
          </a:p>
        </p:txBody>
      </p:sp>
      <p:graphicFrame>
        <p:nvGraphicFramePr>
          <p:cNvPr id="17" name="Diagram 16"/>
          <p:cNvGraphicFramePr/>
          <p:nvPr>
            <p:extLst/>
          </p:nvPr>
        </p:nvGraphicFramePr>
        <p:xfrm>
          <a:off x="789964" y="1125840"/>
          <a:ext cx="7111162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Diagram 20"/>
          <p:cNvGraphicFramePr/>
          <p:nvPr>
            <p:extLst/>
          </p:nvPr>
        </p:nvGraphicFramePr>
        <p:xfrm>
          <a:off x="8649255" y="1151307"/>
          <a:ext cx="3196948" cy="314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3263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sz="5400" b="1" dirty="0" smtClean="0"/>
              <a:t>Kredittområdet</a:t>
            </a:r>
            <a:endParaRPr lang="nb-NO" sz="5400" b="1" dirty="0"/>
          </a:p>
        </p:txBody>
      </p:sp>
      <p:pic>
        <p:nvPicPr>
          <p:cNvPr id="5" name="Plassholder for bilde 4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2" r="97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2468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34">
              <a:spcBef>
                <a:spcPct val="0"/>
              </a:spcBef>
              <a:spcAft>
                <a:spcPct val="0"/>
              </a:spcAft>
            </a:pPr>
            <a:endParaRPr lang="nb-NO" sz="1867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2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1284" y="5846234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24" name="Rektangel 11"/>
          <p:cNvSpPr/>
          <p:nvPr/>
        </p:nvSpPr>
        <p:spPr>
          <a:xfrm>
            <a:off x="8304245" y="1604798"/>
            <a:ext cx="3840427" cy="851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133" b="1" dirty="0">
                <a:solidFill>
                  <a:srgbClr val="FFFFFF"/>
                </a:solidFill>
              </a:rPr>
              <a:t> </a:t>
            </a: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640848" y="477978"/>
            <a:ext cx="83458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4000" b="1" dirty="0" smtClean="0">
                <a:solidFill>
                  <a:srgbClr val="135EA0"/>
                </a:solidFill>
              </a:rPr>
              <a:t>80 </a:t>
            </a:r>
            <a:r>
              <a:rPr lang="nb-NO" sz="4000" b="1" dirty="0">
                <a:solidFill>
                  <a:srgbClr val="135EA0"/>
                </a:solidFill>
              </a:rPr>
              <a:t>% av </a:t>
            </a:r>
            <a:r>
              <a:rPr lang="nb-NO" sz="4000" b="1" dirty="0" smtClean="0">
                <a:solidFill>
                  <a:srgbClr val="135EA0"/>
                </a:solidFill>
              </a:rPr>
              <a:t>samlet utlåns-</a:t>
            </a:r>
          </a:p>
          <a:p>
            <a:pPr defTabSz="913934"/>
            <a:r>
              <a:rPr lang="nb-NO" sz="4000" b="1" dirty="0" smtClean="0">
                <a:solidFill>
                  <a:srgbClr val="135EA0"/>
                </a:solidFill>
              </a:rPr>
              <a:t>engasjement i personmarkedet</a:t>
            </a:r>
            <a:endParaRPr lang="nb-NO" sz="4000" b="1" dirty="0">
              <a:solidFill>
                <a:srgbClr val="135EA0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271" y="0"/>
            <a:ext cx="5688379" cy="7281124"/>
          </a:xfrm>
          <a:prstGeom prst="rect">
            <a:avLst/>
          </a:prstGeom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137696417"/>
              </p:ext>
            </p:extLst>
          </p:nvPr>
        </p:nvGraphicFramePr>
        <p:xfrm>
          <a:off x="455857" y="1788389"/>
          <a:ext cx="6924583" cy="4640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5" name="Bilde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46179" y="740702"/>
            <a:ext cx="10515600" cy="667265"/>
          </a:xfrm>
        </p:spPr>
        <p:txBody>
          <a:bodyPr>
            <a:normAutofit/>
          </a:bodyPr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Porteføljeutvikling </a:t>
            </a:r>
            <a:endParaRPr lang="nb-NO" sz="4400" b="1" dirty="0">
              <a:solidFill>
                <a:schemeClr val="accent1"/>
              </a:solidFill>
            </a:endParaRP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3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6125593" y="1757780"/>
          <a:ext cx="5664430" cy="4429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/>
          <p:cNvGraphicFramePr/>
          <p:nvPr>
            <p:extLst/>
          </p:nvPr>
        </p:nvGraphicFramePr>
        <p:xfrm>
          <a:off x="239549" y="1757780"/>
          <a:ext cx="5664430" cy="4429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4634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1988841"/>
            <a:ext cx="9144000" cy="1654407"/>
          </a:xfrm>
        </p:spPr>
        <p:txBody>
          <a:bodyPr/>
          <a:lstStyle/>
          <a:p>
            <a:r>
              <a:rPr lang="nb-NO" dirty="0" smtClean="0"/>
              <a:t>Egenkapitalbevis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7306" y="-1651860"/>
            <a:ext cx="13798414" cy="9198943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932579" y="715354"/>
            <a:ext cx="56810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5400" b="1" dirty="0" err="1">
                <a:solidFill>
                  <a:schemeClr val="bg1"/>
                </a:solidFill>
              </a:rPr>
              <a:t>F</a:t>
            </a:r>
            <a:r>
              <a:rPr lang="nb-NO" sz="5400" b="1" dirty="0" err="1" smtClean="0">
                <a:solidFill>
                  <a:schemeClr val="bg1"/>
                </a:solidFill>
              </a:rPr>
              <a:t>unding</a:t>
            </a:r>
            <a:r>
              <a:rPr lang="nb-NO" sz="5400" dirty="0" smtClean="0">
                <a:solidFill>
                  <a:schemeClr val="bg1"/>
                </a:solidFill>
              </a:rPr>
              <a:t> </a:t>
            </a:r>
            <a:endParaRPr lang="nb-NO" sz="5400" dirty="0">
              <a:solidFill>
                <a:schemeClr val="bg1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5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25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10031" y="395349"/>
            <a:ext cx="7752377" cy="722314"/>
          </a:xfrm>
        </p:spPr>
        <p:txBody>
          <a:bodyPr/>
          <a:lstStyle/>
          <a:p>
            <a:r>
              <a:rPr lang="en-US" sz="4400" b="1" dirty="0" err="1">
                <a:solidFill>
                  <a:schemeClr val="accent1"/>
                </a:solidFill>
              </a:rPr>
              <a:t>Fundingstruktur</a:t>
            </a:r>
            <a:r>
              <a:rPr lang="en-US" sz="4400" b="1" dirty="0">
                <a:solidFill>
                  <a:schemeClr val="accent1"/>
                </a:solidFill>
              </a:rPr>
              <a:t> </a:t>
            </a:r>
            <a:r>
              <a:rPr lang="en-US" sz="4400" b="1" dirty="0" smtClean="0">
                <a:solidFill>
                  <a:schemeClr val="accent1"/>
                </a:solidFill>
              </a:rPr>
              <a:t>31.03.19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332200" y="2023701"/>
            <a:ext cx="3700914" cy="2103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400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2000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Innskudd 					24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Bolig-/Næringskreditt 	13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Markedsfinansiering 	9  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204200" y="1105354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63359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26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3296" y="361729"/>
            <a:ext cx="7752377" cy="722314"/>
          </a:xfrm>
        </p:spPr>
        <p:txBody>
          <a:bodyPr/>
          <a:lstStyle/>
          <a:p>
            <a:r>
              <a:rPr lang="en-US" sz="4400" b="1" dirty="0" err="1" smtClean="0">
                <a:solidFill>
                  <a:schemeClr val="accent1"/>
                </a:solidFill>
              </a:rPr>
              <a:t>Obligasjonsportefølje</a:t>
            </a:r>
            <a:r>
              <a:rPr lang="en-US" sz="4400" b="1" dirty="0" smtClean="0">
                <a:solidFill>
                  <a:schemeClr val="accent1"/>
                </a:solidFill>
              </a:rPr>
              <a:t> 31.03.19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211428" y="2607760"/>
            <a:ext cx="37257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b="1" dirty="0" smtClean="0">
                <a:solidFill>
                  <a:srgbClr val="FFFFFF"/>
                </a:solidFill>
              </a:rPr>
              <a:t>Obligasjonsportefølje: 4,5 </a:t>
            </a:r>
            <a:r>
              <a:rPr lang="nb-NO" sz="2000" b="1" dirty="0" err="1" smtClean="0">
                <a:solidFill>
                  <a:srgbClr val="FFFFFF"/>
                </a:solidFill>
              </a:rPr>
              <a:t>mrd</a:t>
            </a:r>
            <a:endParaRPr lang="nb-NO" sz="2000" b="1" dirty="0">
              <a:solidFill>
                <a:srgbClr val="FFFFFF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9" name="Diagram 8"/>
          <p:cNvGraphicFramePr/>
          <p:nvPr>
            <p:extLst/>
          </p:nvPr>
        </p:nvGraphicFramePr>
        <p:xfrm>
          <a:off x="204200" y="1105354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4027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 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4251" y="-370061"/>
            <a:ext cx="12989881" cy="7940045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554200" y="440987"/>
            <a:ext cx="106129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34"/>
            <a:r>
              <a:rPr lang="nb-NO" sz="4800" b="1" dirty="0" smtClean="0">
                <a:solidFill>
                  <a:srgbClr val="135EA0"/>
                </a:solidFill>
              </a:rPr>
              <a:t>Moodys: A2 Stable</a:t>
            </a:r>
            <a:endParaRPr lang="nb-NO" sz="4800" b="1" dirty="0">
              <a:solidFill>
                <a:srgbClr val="135EA0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579" y="2003377"/>
            <a:ext cx="7762875" cy="33813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3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1424" y="1988841"/>
            <a:ext cx="9144000" cy="1654407"/>
          </a:xfrm>
        </p:spPr>
        <p:txBody>
          <a:bodyPr/>
          <a:lstStyle/>
          <a:p>
            <a:r>
              <a:rPr lang="nb-NO" dirty="0" smtClean="0"/>
              <a:t>Datterselskaper</a:t>
            </a:r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3" y="-934938"/>
            <a:ext cx="12945720" cy="8630480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772082" y="930875"/>
            <a:ext cx="65959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5400" b="1" dirty="0">
                <a:solidFill>
                  <a:schemeClr val="bg1"/>
                </a:solidFill>
              </a:rPr>
              <a:t>Datterselskaper</a:t>
            </a:r>
            <a:r>
              <a:rPr lang="nb-NO" sz="1867" b="1" dirty="0">
                <a:solidFill>
                  <a:srgbClr val="44546A"/>
                </a:solidFill>
              </a:rPr>
              <a:t> 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26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46875" y="546058"/>
            <a:ext cx="10258912" cy="50475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Datterselskaper </a:t>
            </a:r>
            <a:r>
              <a:rPr lang="nb-NO" sz="4000" b="1" dirty="0">
                <a:solidFill>
                  <a:schemeClr val="accent1"/>
                </a:solidFill>
              </a:rPr>
              <a:t> </a:t>
            </a:r>
            <a:r>
              <a:rPr lang="nb-NO" sz="4000" b="1" dirty="0" smtClean="0">
                <a:solidFill>
                  <a:schemeClr val="accent1"/>
                </a:solidFill>
              </a:rPr>
              <a:t>- positiv utvikling</a:t>
            </a:r>
            <a:endParaRPr lang="nb-NO" sz="4000" b="1" dirty="0">
              <a:solidFill>
                <a:schemeClr val="accent1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567185" y="5910207"/>
            <a:ext cx="83494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34"/>
            <a:r>
              <a:rPr lang="nb-NO" sz="1200" dirty="0">
                <a:latin typeface="+mj-lt"/>
                <a:cs typeface="Verdana"/>
              </a:rPr>
              <a:t>EM 1 og Z eiendom har en samlet boligomsetning på kr </a:t>
            </a:r>
            <a:r>
              <a:rPr lang="nb-NO" sz="1200" dirty="0" smtClean="0">
                <a:latin typeface="+mj-lt"/>
                <a:cs typeface="Verdana"/>
              </a:rPr>
              <a:t>1,6 </a:t>
            </a:r>
            <a:r>
              <a:rPr lang="nb-NO" sz="1200" dirty="0" err="1">
                <a:latin typeface="+mj-lt"/>
                <a:cs typeface="Verdana"/>
              </a:rPr>
              <a:t>mrd</a:t>
            </a:r>
            <a:r>
              <a:rPr lang="nb-NO" sz="1200" dirty="0">
                <a:latin typeface="+mj-lt"/>
                <a:cs typeface="Verdana"/>
              </a:rPr>
              <a:t> </a:t>
            </a:r>
            <a:r>
              <a:rPr lang="nb-NO" sz="1200" dirty="0" err="1">
                <a:latin typeface="+mj-lt"/>
                <a:cs typeface="Verdana"/>
              </a:rPr>
              <a:t>hiå</a:t>
            </a:r>
            <a:r>
              <a:rPr lang="nb-NO" sz="1200" dirty="0">
                <a:latin typeface="+mj-lt"/>
                <a:cs typeface="Verdana"/>
              </a:rPr>
              <a:t> fordelt på </a:t>
            </a:r>
            <a:r>
              <a:rPr lang="nb-NO" sz="1200" dirty="0" err="1">
                <a:latin typeface="+mj-lt"/>
                <a:cs typeface="Verdana"/>
              </a:rPr>
              <a:t>ca</a:t>
            </a:r>
            <a:r>
              <a:rPr lang="nb-NO" sz="1200" dirty="0">
                <a:latin typeface="+mj-lt"/>
                <a:cs typeface="Verdana"/>
              </a:rPr>
              <a:t> </a:t>
            </a:r>
            <a:r>
              <a:rPr lang="nb-NO" sz="1200" dirty="0" smtClean="0">
                <a:latin typeface="+mj-lt"/>
                <a:cs typeface="Verdana"/>
              </a:rPr>
              <a:t>550 enheter</a:t>
            </a:r>
            <a:endParaRPr lang="nb-NO" sz="1200" dirty="0" smtClean="0">
              <a:latin typeface="Verdana"/>
              <a:cs typeface="Verdana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567185" y="1447060"/>
          <a:ext cx="5762594" cy="435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Diagram 10"/>
          <p:cNvGraphicFramePr/>
          <p:nvPr>
            <p:extLst/>
          </p:nvPr>
        </p:nvGraphicFramePr>
        <p:xfrm>
          <a:off x="6108330" y="1447060"/>
          <a:ext cx="5762594" cy="435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7394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4237" y="4674769"/>
            <a:ext cx="3596050" cy="2050872"/>
          </a:xfrm>
          <a:prstGeom prst="rect">
            <a:avLst/>
          </a:prstGeom>
        </p:spPr>
      </p:pic>
      <p:sp>
        <p:nvSpPr>
          <p:cNvPr id="5" name="Ellipse 27"/>
          <p:cNvSpPr>
            <a:spLocks noChangeArrowheads="1"/>
          </p:cNvSpPr>
          <p:nvPr/>
        </p:nvSpPr>
        <p:spPr bwMode="auto">
          <a:xfrm>
            <a:off x="3291162" y="69066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>
            <a:defPPr>
              <a:defRPr lang="nb-NO"/>
            </a:defPPr>
            <a:lvl1pPr marL="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ntekter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 smtClean="0">
                <a:solidFill>
                  <a:srgbClr val="FFFFFF"/>
                </a:solidFill>
                <a:cs typeface="Times New Roman" panose="02020603050405020304" pitchFamily="18" charset="0"/>
              </a:rPr>
              <a:t>1,2 </a:t>
            </a:r>
            <a:r>
              <a:rPr lang="nb-NO" altLang="en-US" sz="1467" dirty="0" err="1" smtClean="0">
                <a:solidFill>
                  <a:srgbClr val="FFFFFF"/>
                </a:solidFill>
                <a:cs typeface="Times New Roman" panose="02020603050405020304" pitchFamily="18" charset="0"/>
              </a:rPr>
              <a:t>mrd</a:t>
            </a:r>
            <a:endParaRPr lang="nb-NO" altLang="en-US" sz="1467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" name="Ellipse 30"/>
          <p:cNvSpPr>
            <a:spLocks noChangeArrowheads="1"/>
          </p:cNvSpPr>
          <p:nvPr/>
        </p:nvSpPr>
        <p:spPr bwMode="auto">
          <a:xfrm>
            <a:off x="1817652" y="312283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satte </a:t>
            </a:r>
            <a:r>
              <a:rPr lang="nb-NO" altLang="en-US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ilfredshet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75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Ellipse 30"/>
          <p:cNvSpPr>
            <a:spLocks noChangeArrowheads="1"/>
          </p:cNvSpPr>
          <p:nvPr/>
        </p:nvSpPr>
        <p:spPr bwMode="auto">
          <a:xfrm>
            <a:off x="3295186" y="4025877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n kjerne-kapital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5 </a:t>
            </a: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Ellipse 30"/>
          <p:cNvSpPr>
            <a:spLocks noChangeArrowheads="1"/>
          </p:cNvSpPr>
          <p:nvPr/>
        </p:nvSpPr>
        <p:spPr bwMode="auto">
          <a:xfrm>
            <a:off x="4761420" y="312283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Jaws</a:t>
            </a: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in. </a:t>
            </a: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4 %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Ellipse 30"/>
          <p:cNvSpPr>
            <a:spLocks noChangeArrowheads="1"/>
          </p:cNvSpPr>
          <p:nvPr/>
        </p:nvSpPr>
        <p:spPr bwMode="auto">
          <a:xfrm>
            <a:off x="4820954" y="1519178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K-avkastning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0%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Bindepunkt 9"/>
          <p:cNvSpPr/>
          <p:nvPr/>
        </p:nvSpPr>
        <p:spPr>
          <a:xfrm>
            <a:off x="1507572" y="4046006"/>
            <a:ext cx="786124" cy="729436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>
                <a:solidFill>
                  <a:schemeClr val="accent1"/>
                </a:solidFill>
              </a:rPr>
              <a:t>76</a:t>
            </a:r>
          </a:p>
        </p:txBody>
      </p:sp>
      <p:sp>
        <p:nvSpPr>
          <p:cNvPr id="12" name="Ellipse 30"/>
          <p:cNvSpPr>
            <a:spLocks noChangeArrowheads="1"/>
          </p:cNvSpPr>
          <p:nvPr/>
        </p:nvSpPr>
        <p:spPr bwMode="auto">
          <a:xfrm>
            <a:off x="1843641" y="1472121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-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ilfredshet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70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Ellipse 27"/>
          <p:cNvSpPr>
            <a:spLocks noChangeArrowheads="1"/>
          </p:cNvSpPr>
          <p:nvPr/>
        </p:nvSpPr>
        <p:spPr bwMode="auto">
          <a:xfrm>
            <a:off x="3328204" y="2191788"/>
            <a:ext cx="1439333" cy="1439333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>
            <a:defPPr>
              <a:defRPr lang="nb-NO"/>
            </a:defPPr>
            <a:lvl1pPr marL="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sultat 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2133" b="1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500 </a:t>
            </a:r>
            <a:r>
              <a:rPr lang="nb-NO" altLang="en-US" sz="2133" b="1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ill</a:t>
            </a:r>
            <a:r>
              <a:rPr lang="nb-NO" altLang="en-US" sz="2133" b="1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tter skatt</a:t>
            </a:r>
          </a:p>
        </p:txBody>
      </p:sp>
      <p:sp>
        <p:nvSpPr>
          <p:cNvPr id="14" name="Bindepunkt 13"/>
          <p:cNvSpPr/>
          <p:nvPr/>
        </p:nvSpPr>
        <p:spPr>
          <a:xfrm>
            <a:off x="5732561" y="4046006"/>
            <a:ext cx="874821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-0,2 %</a:t>
            </a:r>
            <a:endParaRPr lang="nb-NO" sz="1333" b="1" dirty="0">
              <a:solidFill>
                <a:schemeClr val="accent1"/>
              </a:solidFill>
            </a:endParaRPr>
          </a:p>
        </p:txBody>
      </p:sp>
      <p:sp>
        <p:nvSpPr>
          <p:cNvPr id="15" name="Bindepunkt 14"/>
          <p:cNvSpPr/>
          <p:nvPr/>
        </p:nvSpPr>
        <p:spPr>
          <a:xfrm>
            <a:off x="6082089" y="2257165"/>
            <a:ext cx="822800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15,9 %</a:t>
            </a:r>
            <a:endParaRPr lang="nb-NO" sz="1333" b="1" dirty="0">
              <a:solidFill>
                <a:schemeClr val="accent1"/>
              </a:solidFill>
            </a:endParaRPr>
          </a:p>
        </p:txBody>
      </p:sp>
      <p:sp>
        <p:nvSpPr>
          <p:cNvPr id="16" name="Bindepunkt 15"/>
          <p:cNvSpPr/>
          <p:nvPr/>
        </p:nvSpPr>
        <p:spPr>
          <a:xfrm>
            <a:off x="3654422" y="5280002"/>
            <a:ext cx="760213" cy="73108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16,3 %</a:t>
            </a:r>
            <a:endParaRPr lang="nb-NO" sz="1333" b="1" dirty="0">
              <a:solidFill>
                <a:schemeClr val="accent1"/>
              </a:solidFill>
            </a:endParaRPr>
          </a:p>
        </p:txBody>
      </p:sp>
      <p:sp>
        <p:nvSpPr>
          <p:cNvPr id="17" name="Bindepunkt 16"/>
          <p:cNvSpPr/>
          <p:nvPr/>
        </p:nvSpPr>
        <p:spPr>
          <a:xfrm>
            <a:off x="1306486" y="2197411"/>
            <a:ext cx="810822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67</a:t>
            </a:r>
          </a:p>
        </p:txBody>
      </p:sp>
      <p:sp>
        <p:nvSpPr>
          <p:cNvPr id="24" name="Rektangel 23"/>
          <p:cNvSpPr/>
          <p:nvPr/>
        </p:nvSpPr>
        <p:spPr>
          <a:xfrm>
            <a:off x="8099992" y="521306"/>
            <a:ext cx="409200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3600" b="1" dirty="0">
                <a:solidFill>
                  <a:schemeClr val="accent1"/>
                </a:solidFill>
              </a:rPr>
              <a:t>Oppnådd </a:t>
            </a:r>
            <a:r>
              <a:rPr lang="nb-NO" sz="3600" b="1" dirty="0" smtClean="0">
                <a:solidFill>
                  <a:schemeClr val="accent1"/>
                </a:solidFill>
              </a:rPr>
              <a:t>1. kvartal 2019 mot </a:t>
            </a:r>
          </a:p>
          <a:p>
            <a:r>
              <a:rPr lang="nb-NO" sz="3600" b="1" dirty="0" err="1" smtClean="0">
                <a:solidFill>
                  <a:schemeClr val="accent1"/>
                </a:solidFill>
              </a:rPr>
              <a:t>målbilde</a:t>
            </a:r>
            <a:r>
              <a:rPr lang="nb-NO" sz="3600" b="1" dirty="0" smtClean="0">
                <a:solidFill>
                  <a:schemeClr val="accent1"/>
                </a:solidFill>
              </a:rPr>
              <a:t> 2020</a:t>
            </a:r>
            <a:endParaRPr lang="nb-NO" sz="3600" dirty="0">
              <a:solidFill>
                <a:schemeClr val="accent1"/>
              </a:solidFill>
            </a:endParaRPr>
          </a:p>
        </p:txBody>
      </p:sp>
      <p:pic>
        <p:nvPicPr>
          <p:cNvPr id="22" name="Bild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792" y="6307991"/>
            <a:ext cx="1847213" cy="53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86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914" y="0"/>
            <a:ext cx="4572000" cy="6858000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3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781252" y="699668"/>
            <a:ext cx="7042941" cy="605679"/>
          </a:xfrm>
        </p:spPr>
        <p:txBody>
          <a:bodyPr/>
          <a:lstStyle/>
          <a:p>
            <a:r>
              <a:rPr lang="nb-NO" sz="4800" b="1" dirty="0">
                <a:solidFill>
                  <a:schemeClr val="accent1"/>
                </a:solidFill>
              </a:rPr>
              <a:t>Øvrige finansielle tema</a:t>
            </a:r>
            <a:endParaRPr lang="nb-NO" dirty="0"/>
          </a:p>
        </p:txBody>
      </p:sp>
      <p:sp>
        <p:nvSpPr>
          <p:cNvPr id="8" name="Rektangel 7"/>
          <p:cNvSpPr/>
          <p:nvPr/>
        </p:nvSpPr>
        <p:spPr>
          <a:xfrm>
            <a:off x="293419" y="1640266"/>
            <a:ext cx="7530773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accent1"/>
                </a:solidFill>
              </a:rPr>
              <a:t>Renteøkning på </a:t>
            </a:r>
            <a:r>
              <a:rPr lang="nb-NO" sz="2200" dirty="0" smtClean="0">
                <a:solidFill>
                  <a:schemeClr val="accent1"/>
                </a:solidFill>
              </a:rPr>
              <a:t>enkelte innskuddsprodukter </a:t>
            </a:r>
            <a:r>
              <a:rPr lang="nb-NO" sz="2200" dirty="0">
                <a:solidFill>
                  <a:schemeClr val="accent1"/>
                </a:solidFill>
              </a:rPr>
              <a:t>og utlån med inntil 0,25 %-poeng </a:t>
            </a:r>
            <a:r>
              <a:rPr lang="nb-NO" sz="2200" dirty="0" smtClean="0">
                <a:solidFill>
                  <a:schemeClr val="accent1"/>
                </a:solidFill>
              </a:rPr>
              <a:t>fra mai</a:t>
            </a:r>
            <a:endParaRPr lang="nb-NO" sz="2200" dirty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 smtClean="0">
                <a:solidFill>
                  <a:schemeClr val="accent1"/>
                </a:solidFill>
              </a:rPr>
              <a:t>Fusjon </a:t>
            </a:r>
            <a:r>
              <a:rPr lang="nb-NO" sz="2200" dirty="0">
                <a:solidFill>
                  <a:schemeClr val="accent1"/>
                </a:solidFill>
              </a:rPr>
              <a:t>forsikring </a:t>
            </a:r>
            <a:r>
              <a:rPr lang="nb-NO" sz="2200" dirty="0" smtClean="0">
                <a:solidFill>
                  <a:schemeClr val="accent1"/>
                </a:solidFill>
              </a:rPr>
              <a:t>i 2019 (</a:t>
            </a:r>
            <a:r>
              <a:rPr lang="nb-NO" sz="2200" dirty="0" err="1" smtClean="0">
                <a:solidFill>
                  <a:schemeClr val="accent1"/>
                </a:solidFill>
              </a:rPr>
              <a:t>Fremtind</a:t>
            </a:r>
            <a:r>
              <a:rPr lang="nb-NO" sz="2200" dirty="0" smtClean="0">
                <a:solidFill>
                  <a:schemeClr val="accent1"/>
                </a:solidFill>
              </a:rPr>
              <a:t> AS)</a:t>
            </a:r>
          </a:p>
          <a:p>
            <a:pPr marL="1278238" lvl="2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 smtClean="0">
                <a:solidFill>
                  <a:schemeClr val="accent1"/>
                </a:solidFill>
              </a:rPr>
              <a:t>- Personforsikringsprodukter gjenstår</a:t>
            </a:r>
          </a:p>
          <a:p>
            <a:pPr marL="1278238" lvl="2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2200" dirty="0" smtClean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 smtClean="0">
                <a:solidFill>
                  <a:schemeClr val="accent1"/>
                </a:solidFill>
              </a:rPr>
              <a:t>Økt eierskap i BN Bank fra 3,9 % til 5 %</a:t>
            </a: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 smtClean="0">
                <a:solidFill>
                  <a:schemeClr val="accent1"/>
                </a:solidFill>
              </a:rPr>
              <a:t>SMB rabatt estimert til en positiv effekt på 0,4 %-poeng i ren kjernekapital</a:t>
            </a: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2200" dirty="0" smtClean="0">
                <a:solidFill>
                  <a:schemeClr val="accent1"/>
                </a:solidFill>
              </a:rPr>
              <a:t>IFRS 16  (leieavtaler)  kr 110 </a:t>
            </a:r>
            <a:r>
              <a:rPr lang="nb-NO" sz="2200" dirty="0" err="1" smtClean="0">
                <a:solidFill>
                  <a:schemeClr val="accent1"/>
                </a:solidFill>
              </a:rPr>
              <a:t>mill</a:t>
            </a:r>
            <a:r>
              <a:rPr lang="nb-NO" sz="2200" dirty="0" smtClean="0">
                <a:solidFill>
                  <a:schemeClr val="accent1"/>
                </a:solidFill>
              </a:rPr>
              <a:t> aktivert i 1 kvartal</a:t>
            </a:r>
            <a:endParaRPr lang="nb-NO" sz="2200" dirty="0">
              <a:solidFill>
                <a:schemeClr val="accent1"/>
              </a:solidFill>
            </a:endParaRPr>
          </a:p>
          <a:p>
            <a:pPr marL="821038" lvl="1" indent="-457200" defTabSz="342734"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accent1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70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2190" y="2085474"/>
            <a:ext cx="7028252" cy="1965162"/>
          </a:xfrm>
        </p:spPr>
        <p:txBody>
          <a:bodyPr>
            <a:normAutofit/>
          </a:bodyPr>
          <a:lstStyle/>
          <a:p>
            <a:r>
              <a:rPr lang="nb-NO" sz="5400" b="1" dirty="0" smtClean="0"/>
              <a:t>Kursutvikling SBVG</a:t>
            </a:r>
            <a:endParaRPr lang="nb-NO" sz="5400" b="1" dirty="0"/>
          </a:p>
        </p:txBody>
      </p:sp>
      <p:pic>
        <p:nvPicPr>
          <p:cNvPr id="7" name="Plassholder for bilde 6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282" y="0"/>
            <a:ext cx="4859946" cy="7289919"/>
          </a:xfrm>
        </p:spPr>
      </p:pic>
    </p:spTree>
    <p:extLst>
      <p:ext uri="{BB962C8B-B14F-4D97-AF65-F5344CB8AC3E}">
        <p14:creationId xmlns:p14="http://schemas.microsoft.com/office/powerpoint/2010/main" val="37886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1252" y="750130"/>
            <a:ext cx="10629499" cy="504754"/>
          </a:xfrm>
        </p:spPr>
        <p:txBody>
          <a:bodyPr/>
          <a:lstStyle/>
          <a:p>
            <a:r>
              <a:rPr lang="en-US" sz="4000" b="1" dirty="0">
                <a:solidFill>
                  <a:schemeClr val="accent1"/>
                </a:solidFill>
              </a:rPr>
              <a:t>God </a:t>
            </a:r>
            <a:r>
              <a:rPr lang="en-US" sz="4000" b="1" dirty="0" err="1">
                <a:solidFill>
                  <a:schemeClr val="accent1"/>
                </a:solidFill>
              </a:rPr>
              <a:t>kursutvikling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og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høy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direkteavkastning</a:t>
            </a:r>
            <a:r>
              <a:rPr lang="en-US" sz="4000" b="1" dirty="0">
                <a:solidFill>
                  <a:schemeClr val="accent1"/>
                </a:solidFill>
              </a:rPr>
              <a:t> SBVG</a:t>
            </a:r>
            <a:endParaRPr lang="nb-NO" sz="4000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32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6972875" y="3002463"/>
          <a:ext cx="4033615" cy="14235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618"/>
                <a:gridCol w="1009656"/>
                <a:gridCol w="1009656"/>
                <a:gridCol w="1046685"/>
              </a:tblGrid>
              <a:tr h="405781"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År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Utbytte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Kurs 31.12.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Direkte avkastning</a:t>
                      </a:r>
                      <a:endParaRPr lang="nb-NO" sz="130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6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1,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7,5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6,8 %</a:t>
                      </a:r>
                      <a:endParaRPr lang="nb-NO" sz="1300" b="1" i="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7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,40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33,9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7,1 %</a:t>
                      </a:r>
                      <a:endParaRPr lang="nb-NO" sz="1300" b="1" i="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8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,95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35,6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8,3 %</a:t>
                      </a:r>
                      <a:endParaRPr lang="nb-NO" sz="1300" b="1" i="0" baseline="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ell 8"/>
          <p:cNvGraphicFramePr>
            <a:graphicFrameLocks noGrp="1"/>
          </p:cNvGraphicFramePr>
          <p:nvPr>
            <p:extLst/>
          </p:nvPr>
        </p:nvGraphicFramePr>
        <p:xfrm>
          <a:off x="6972874" y="4790354"/>
          <a:ext cx="4033615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6723"/>
                <a:gridCol w="806723"/>
                <a:gridCol w="806723"/>
                <a:gridCol w="806723"/>
                <a:gridCol w="806723"/>
              </a:tblGrid>
              <a:tr h="370840">
                <a:tc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Norne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Arctic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SB1</a:t>
                      </a:r>
                      <a:r>
                        <a:rPr lang="nb-NO" sz="1200" b="1" baseline="0" dirty="0" smtClean="0"/>
                        <a:t> Markets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Pareto</a:t>
                      </a:r>
                      <a:endParaRPr lang="nb-NO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Kursmål SBVG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53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41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43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45</a:t>
                      </a:r>
                      <a:endParaRPr lang="nb-NO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ktangel 9"/>
          <p:cNvSpPr/>
          <p:nvPr/>
        </p:nvSpPr>
        <p:spPr>
          <a:xfrm>
            <a:off x="6972874" y="1794389"/>
            <a:ext cx="4238465" cy="1025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dirty="0">
                <a:solidFill>
                  <a:schemeClr val="accent1"/>
                </a:solidFill>
              </a:rPr>
              <a:t>Blant de beste bankene på direkteavkastning 2016 - 2018</a:t>
            </a:r>
          </a:p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dirty="0" smtClean="0">
                <a:solidFill>
                  <a:schemeClr val="accent1"/>
                </a:solidFill>
              </a:rPr>
              <a:t>Sluttkurs 36,0 den 29.03.19 – ex utbytte</a:t>
            </a:r>
            <a:endParaRPr lang="nb-NO" dirty="0">
              <a:solidFill>
                <a:schemeClr val="accent1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497001" y="1507802"/>
          <a:ext cx="5655224" cy="4786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Rett pil 4"/>
          <p:cNvCxnSpPr/>
          <p:nvPr/>
        </p:nvCxnSpPr>
        <p:spPr>
          <a:xfrm flipH="1">
            <a:off x="6072325" y="2621896"/>
            <a:ext cx="900549" cy="58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463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7"/>
          <a:stretch/>
        </p:blipFill>
        <p:spPr>
          <a:xfrm>
            <a:off x="0" y="-1500327"/>
            <a:ext cx="5974672" cy="836276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931" y="2550921"/>
            <a:ext cx="4793711" cy="572080"/>
          </a:xfrm>
        </p:spPr>
        <p:txBody>
          <a:bodyPr/>
          <a:lstStyle/>
          <a:p>
            <a:r>
              <a:rPr lang="nb-NO" b="1" dirty="0" smtClean="0"/>
              <a:t>Utsikter 2019</a:t>
            </a:r>
            <a:endParaRPr lang="nb-NO" b="1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33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idx="13"/>
          </p:nvPr>
        </p:nvSpPr>
        <p:spPr>
          <a:xfrm>
            <a:off x="6602870" y="488917"/>
            <a:ext cx="5216237" cy="5104487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Lav og stabil </a:t>
            </a:r>
            <a:r>
              <a:rPr lang="nb-NO" sz="2400" dirty="0" smtClean="0">
                <a:solidFill>
                  <a:schemeClr val="accent1"/>
                </a:solidFill>
              </a:rPr>
              <a:t>arbeidsledighet</a:t>
            </a:r>
            <a:endParaRPr lang="nb-NO" sz="24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Stabilt boligmark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Optimisme i næringsliv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God vekst i norsk økonomi i 201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Renteøkninger </a:t>
            </a:r>
            <a:r>
              <a:rPr lang="nb-NO" sz="2400" dirty="0">
                <a:solidFill>
                  <a:schemeClr val="accent1"/>
                </a:solidFill>
              </a:rPr>
              <a:t>i 201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Pågående internasjonal uro og lavere vekst i Europa skaper noe </a:t>
            </a:r>
            <a:r>
              <a:rPr lang="nb-NO" sz="2400" dirty="0" smtClean="0">
                <a:solidFill>
                  <a:schemeClr val="accent1"/>
                </a:solidFill>
              </a:rPr>
              <a:t>usikkerhet</a:t>
            </a:r>
          </a:p>
          <a:p>
            <a:pPr>
              <a:buFont typeface="Wingdings" panose="05000000000000000000" pitchFamily="2" charset="2"/>
              <a:buChar char="§"/>
            </a:pPr>
            <a:endParaRPr lang="nb-NO" sz="2400" dirty="0" smtClean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nb-NO" sz="24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PM kredittvekst som markedsvek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BM moderat kredittvek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>
                <a:solidFill>
                  <a:schemeClr val="accent1"/>
                </a:solidFill>
              </a:rPr>
              <a:t>L</a:t>
            </a:r>
            <a:r>
              <a:rPr lang="nb-NO" sz="2400" smtClean="0">
                <a:solidFill>
                  <a:schemeClr val="accent1"/>
                </a:solidFill>
              </a:rPr>
              <a:t>ave </a:t>
            </a:r>
            <a:r>
              <a:rPr lang="nb-NO" sz="2400" dirty="0" smtClean="0">
                <a:solidFill>
                  <a:schemeClr val="accent1"/>
                </a:solidFill>
              </a:rPr>
              <a:t>tap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Mål 10 % egenkapitalavkastning</a:t>
            </a:r>
          </a:p>
          <a:p>
            <a:pPr>
              <a:buFont typeface="Wingdings" panose="05000000000000000000" pitchFamily="2" charset="2"/>
              <a:buChar char="§"/>
            </a:pPr>
            <a:endParaRPr lang="nb-NO" sz="2400" dirty="0">
              <a:solidFill>
                <a:schemeClr val="accent1"/>
              </a:solidFill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970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02960" y="680124"/>
            <a:ext cx="11514428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Godt resultat og god soliditet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332733" y="1968513"/>
            <a:ext cx="10410088" cy="433288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000" b="1" dirty="0" smtClean="0">
                <a:solidFill>
                  <a:schemeClr val="accent1"/>
                </a:solidFill>
              </a:rPr>
              <a:t> </a:t>
            </a:r>
            <a:r>
              <a:rPr lang="nb-NO" sz="2000" b="1" i="1" dirty="0" smtClean="0">
                <a:solidFill>
                  <a:schemeClr val="accent1"/>
                </a:solidFill>
              </a:rPr>
              <a:t>Lønnsomhet :</a:t>
            </a:r>
            <a:r>
              <a:rPr lang="nb-NO" sz="2000" b="1" dirty="0" smtClean="0">
                <a:solidFill>
                  <a:schemeClr val="accent1"/>
                </a:solidFill>
              </a:rPr>
              <a:t>  </a:t>
            </a:r>
            <a:r>
              <a:rPr lang="nb-NO" sz="1800" dirty="0" smtClean="0">
                <a:solidFill>
                  <a:schemeClr val="accent1"/>
                </a:solidFill>
              </a:rPr>
              <a:t>Godt resultat på kr 180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 (kr 164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). Ekstraordinære inntekter; Fusjon forsikring 2019 </a:t>
            </a:r>
          </a:p>
          <a:p>
            <a:pPr marL="0" indent="0">
              <a:buNone/>
            </a:pPr>
            <a:r>
              <a:rPr lang="nb-NO" sz="1800" dirty="0" smtClean="0">
                <a:solidFill>
                  <a:schemeClr val="accent1"/>
                </a:solidFill>
              </a:rPr>
              <a:t>(72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) og salg av eiendom 2018 (73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). </a:t>
            </a:r>
          </a:p>
          <a:p>
            <a:pPr marL="0" indent="0">
              <a:buNone/>
            </a:pPr>
            <a:endParaRPr lang="nb-NO" sz="1800" dirty="0" smtClean="0">
              <a:solidFill>
                <a:schemeClr val="accent1"/>
              </a:solidFill>
            </a:endParaRPr>
          </a:p>
          <a:p>
            <a:pPr lvl="1"/>
            <a:endParaRPr lang="nb-NO" sz="18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Vekst og balanse</a:t>
            </a:r>
            <a:r>
              <a:rPr lang="nb-NO" sz="2000" b="1" dirty="0" smtClean="0">
                <a:solidFill>
                  <a:schemeClr val="accent1"/>
                </a:solidFill>
              </a:rPr>
              <a:t>: </a:t>
            </a:r>
            <a:r>
              <a:rPr lang="nb-NO" sz="1800" dirty="0" smtClean="0">
                <a:solidFill>
                  <a:schemeClr val="accent1"/>
                </a:solidFill>
              </a:rPr>
              <a:t>Forretningskapital kr 51 </a:t>
            </a:r>
            <a:r>
              <a:rPr lang="nb-NO" sz="1800" dirty="0" err="1" smtClean="0">
                <a:solidFill>
                  <a:schemeClr val="accent1"/>
                </a:solidFill>
              </a:rPr>
              <a:t>mrd</a:t>
            </a:r>
            <a:r>
              <a:rPr lang="nb-NO" sz="1800" dirty="0" smtClean="0">
                <a:solidFill>
                  <a:schemeClr val="accent1"/>
                </a:solidFill>
              </a:rPr>
              <a:t> (46 </a:t>
            </a:r>
            <a:r>
              <a:rPr lang="nb-NO" sz="1800" dirty="0" err="1" smtClean="0">
                <a:solidFill>
                  <a:schemeClr val="accent1"/>
                </a:solidFill>
              </a:rPr>
              <a:t>mrd</a:t>
            </a:r>
            <a:r>
              <a:rPr lang="nb-NO" sz="1800" dirty="0" smtClean="0">
                <a:solidFill>
                  <a:schemeClr val="accent1"/>
                </a:solidFill>
              </a:rPr>
              <a:t>).  Utlånsvekst 12 </a:t>
            </a:r>
            <a:r>
              <a:rPr lang="nb-NO" sz="1800" dirty="0" err="1" smtClean="0">
                <a:solidFill>
                  <a:schemeClr val="accent1"/>
                </a:solidFill>
              </a:rPr>
              <a:t>mnd</a:t>
            </a:r>
            <a:r>
              <a:rPr lang="nb-NO" sz="1800" dirty="0" smtClean="0">
                <a:solidFill>
                  <a:schemeClr val="accent1"/>
                </a:solidFill>
              </a:rPr>
              <a:t> 6,2 % (7,9 %).  Innskuddsvekst 12 </a:t>
            </a:r>
            <a:r>
              <a:rPr lang="nb-NO" sz="1800" dirty="0" err="1" smtClean="0">
                <a:solidFill>
                  <a:schemeClr val="accent1"/>
                </a:solidFill>
              </a:rPr>
              <a:t>mnd</a:t>
            </a:r>
            <a:r>
              <a:rPr lang="nb-NO" sz="1800" dirty="0" smtClean="0">
                <a:solidFill>
                  <a:schemeClr val="accent1"/>
                </a:solidFill>
              </a:rPr>
              <a:t> 12,8 % (4,4 %).</a:t>
            </a:r>
          </a:p>
          <a:p>
            <a:pPr marL="0" indent="0">
              <a:buNone/>
            </a:pPr>
            <a:endParaRPr lang="nb-NO" sz="18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Soliditet: </a:t>
            </a:r>
            <a:r>
              <a:rPr lang="nb-NO" sz="1800" dirty="0" smtClean="0">
                <a:solidFill>
                  <a:schemeClr val="accent1"/>
                </a:solidFill>
              </a:rPr>
              <a:t>Ren kjernekapital  </a:t>
            </a:r>
            <a:r>
              <a:rPr lang="nb-NO" sz="1800" dirty="0">
                <a:solidFill>
                  <a:schemeClr val="accent1"/>
                </a:solidFill>
              </a:rPr>
              <a:t>16,3</a:t>
            </a:r>
            <a:r>
              <a:rPr lang="nb-NO" sz="1800" dirty="0" smtClean="0">
                <a:solidFill>
                  <a:srgbClr val="FF0000"/>
                </a:solidFill>
              </a:rPr>
              <a:t> </a:t>
            </a:r>
            <a:r>
              <a:rPr lang="nb-NO" sz="1800" dirty="0" smtClean="0">
                <a:solidFill>
                  <a:schemeClr val="accent1"/>
                </a:solidFill>
              </a:rPr>
              <a:t>% (15,4 %).</a:t>
            </a:r>
          </a:p>
          <a:p>
            <a:pPr marL="0" indent="0">
              <a:buNone/>
            </a:pPr>
            <a:endParaRPr lang="nb-NO" sz="2000" b="1" i="1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nb-NO" sz="2000" b="1" i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Rentabilitet: </a:t>
            </a:r>
            <a:r>
              <a:rPr lang="nb-NO" sz="1800" dirty="0" smtClean="0">
                <a:solidFill>
                  <a:schemeClr val="accent1"/>
                </a:solidFill>
              </a:rPr>
              <a:t>Egenkapitalavkastning 15,9 % (16,0 %).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84" y="3947991"/>
            <a:ext cx="839104" cy="824794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377" y="1776462"/>
            <a:ext cx="914356" cy="91435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381" y="4883913"/>
            <a:ext cx="941330" cy="94133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32" y="2864562"/>
            <a:ext cx="913625" cy="91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70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5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967596" y="660135"/>
            <a:ext cx="12043275" cy="1329595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Godt resultat preget av engangseffekt</a:t>
            </a:r>
            <a:r>
              <a:rPr lang="nb-NO" sz="4267" b="1" dirty="0">
                <a:solidFill>
                  <a:schemeClr val="accent1"/>
                </a:solidFill>
              </a:rPr>
              <a:t/>
            </a:r>
            <a:br>
              <a:rPr lang="nb-NO" sz="4267" b="1" dirty="0">
                <a:solidFill>
                  <a:schemeClr val="accent1"/>
                </a:solidFill>
              </a:rPr>
            </a:br>
            <a:r>
              <a:rPr lang="nb-NO" sz="3200" b="1" dirty="0">
                <a:solidFill>
                  <a:schemeClr val="accent1"/>
                </a:solidFill>
              </a:rPr>
              <a:t/>
            </a:r>
            <a:br>
              <a:rPr lang="nb-NO" sz="3200" b="1" dirty="0">
                <a:solidFill>
                  <a:schemeClr val="accent1"/>
                </a:solidFill>
              </a:rPr>
            </a:br>
            <a:endParaRPr lang="nb-NO" sz="3200" dirty="0">
              <a:solidFill>
                <a:schemeClr val="accent1"/>
              </a:solidFill>
            </a:endParaRPr>
          </a:p>
        </p:txBody>
      </p:sp>
      <p:sp useBgFill="1">
        <p:nvSpPr>
          <p:cNvPr id="9" name="Freeform 89"/>
          <p:cNvSpPr/>
          <p:nvPr>
            <p:custDataLst>
              <p:tags r:id="rId1"/>
            </p:custDataLst>
          </p:nvPr>
        </p:nvSpPr>
        <p:spPr bwMode="auto">
          <a:xfrm>
            <a:off x="6794501" y="4819651"/>
            <a:ext cx="626535" cy="245535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34"/>
            <a:endParaRPr lang="nb-NO" sz="1867">
              <a:solidFill>
                <a:prstClr val="white"/>
              </a:solidFill>
            </a:endParaRPr>
          </a:p>
        </p:txBody>
      </p:sp>
      <p:sp useBgFill="1">
        <p:nvSpPr>
          <p:cNvPr id="10" name="Plassholder for tekst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3126318" y="3418417"/>
            <a:ext cx="105833" cy="162984"/>
          </a:xfrm>
          <a:prstGeom prst="rect">
            <a:avLst/>
          </a:prstGeom>
        </p:spPr>
        <p:txBody>
          <a:bodyPr vert="horz" wrap="none" lIns="19051" tIns="0" rIns="19051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11" name="Plassholder for tekst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989234" y="1792817"/>
            <a:ext cx="241300" cy="16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1" tIns="0" rIns="19051" bIns="0" numCol="1" spcCol="0" rtlCol="0" anchor="b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/>
          </p:nvPr>
        </p:nvGraphicFramePr>
        <p:xfrm>
          <a:off x="967596" y="1462524"/>
          <a:ext cx="9692499" cy="4370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4649"/>
                <a:gridCol w="1522439"/>
                <a:gridCol w="1421033"/>
                <a:gridCol w="1544378"/>
              </a:tblGrid>
              <a:tr h="249165">
                <a:tc>
                  <a:txBody>
                    <a:bodyPr/>
                    <a:lstStyle/>
                    <a:p>
                      <a:pPr algn="l" fontAlgn="ctr"/>
                      <a:r>
                        <a:rPr lang="nb-NO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onsernregnskap 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nb-NO" sz="16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9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8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ndring</a:t>
                      </a:r>
                    </a:p>
                  </a:txBody>
                  <a:tcPr marL="0" marR="0" marT="0" marB="0" anchor="ctr"/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te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45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40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sjons- og andre 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99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resultat fra finansielle eiendel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39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29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10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1374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Fusjon forsikring (</a:t>
                      </a:r>
                      <a:r>
                        <a:rPr lang="nb-NO" sz="1300" b="0" i="0" u="none" strike="noStrike" dirty="0" err="1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Fremtind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72      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72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Gevinst ved salg av bankbygg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 73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-73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um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tto inntekter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355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342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Sum driftskostnader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45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42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3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tap og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0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ap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å utlån og garanti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9419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5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3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12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kattekostnad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25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29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-4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etter skatt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80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164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4" name="Ellipse 13"/>
          <p:cNvSpPr/>
          <p:nvPr/>
        </p:nvSpPr>
        <p:spPr>
          <a:xfrm>
            <a:off x="9810572" y="3154754"/>
            <a:ext cx="435835" cy="205099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Ellipse 14"/>
          <p:cNvSpPr/>
          <p:nvPr/>
        </p:nvSpPr>
        <p:spPr>
          <a:xfrm>
            <a:off x="9836210" y="2792119"/>
            <a:ext cx="435835" cy="20509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141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133" y="0"/>
            <a:ext cx="4231267" cy="6858000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6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000" b="1" dirty="0">
                <a:solidFill>
                  <a:schemeClr val="accent1"/>
                </a:solidFill>
              </a:rPr>
              <a:t>Resultat pr EK-bevis (morbank)</a:t>
            </a:r>
            <a:endParaRPr lang="nb-NO" sz="4000" dirty="0"/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541315" y="1487090"/>
          <a:ext cx="7158446" cy="495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39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7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87146" y="471368"/>
            <a:ext cx="7042941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Kvartalsvis inntektsutvikling</a:t>
            </a:r>
            <a:endParaRPr lang="nb-NO" dirty="0"/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156963" y="1026585"/>
          <a:ext cx="764395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Bild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704" y="5595701"/>
            <a:ext cx="2840407" cy="815038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8104" y="5748101"/>
            <a:ext cx="2840407" cy="8150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31" r="14508"/>
          <a:stretch/>
        </p:blipFill>
        <p:spPr>
          <a:xfrm>
            <a:off x="8109814" y="0"/>
            <a:ext cx="4359349" cy="6858000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45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8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192505" y="406641"/>
            <a:ext cx="8046719" cy="1191736"/>
          </a:xfrm>
        </p:spPr>
        <p:txBody>
          <a:bodyPr/>
          <a:lstStyle/>
          <a:p>
            <a:r>
              <a:rPr lang="nb-NO" sz="3200" b="1" dirty="0" smtClean="0">
                <a:solidFill>
                  <a:schemeClr val="accent1"/>
                </a:solidFill>
              </a:rPr>
              <a:t>Marginpress i </a:t>
            </a:r>
            <a:r>
              <a:rPr lang="nb-NO" sz="3200" b="1" dirty="0">
                <a:solidFill>
                  <a:schemeClr val="accent1"/>
                </a:solidFill>
              </a:rPr>
              <a:t>1. </a:t>
            </a:r>
            <a:r>
              <a:rPr lang="nb-NO" sz="3200" b="1" dirty="0" smtClean="0">
                <a:solidFill>
                  <a:schemeClr val="accent1"/>
                </a:solidFill>
              </a:rPr>
              <a:t>kvartal som følge av konkurransesituasjon og økt NIBOR</a:t>
            </a:r>
            <a:br>
              <a:rPr lang="nb-NO" sz="3200" b="1" dirty="0" smtClean="0">
                <a:solidFill>
                  <a:schemeClr val="accent1"/>
                </a:solidFill>
              </a:rPr>
            </a:br>
            <a:r>
              <a:rPr lang="nb-NO" sz="3200" b="1" dirty="0" smtClean="0">
                <a:solidFill>
                  <a:schemeClr val="accent1"/>
                </a:solidFill>
              </a:rPr>
              <a:t>- </a:t>
            </a:r>
            <a:r>
              <a:rPr lang="nb-NO" sz="2400" b="1" dirty="0" smtClean="0">
                <a:solidFill>
                  <a:schemeClr val="accent1"/>
                </a:solidFill>
              </a:rPr>
              <a:t>Renteheving besluttet i 2. kvartal</a:t>
            </a:r>
            <a:endParaRPr lang="nb-NO" sz="2400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242"/>
          <a:stretch/>
        </p:blipFill>
        <p:spPr>
          <a:xfrm>
            <a:off x="8115962" y="0"/>
            <a:ext cx="4090215" cy="6858000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525525" y="1682887"/>
          <a:ext cx="7138017" cy="4841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Bild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40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9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44963" y="135143"/>
            <a:ext cx="7355490" cy="1477328"/>
          </a:xfrm>
        </p:spPr>
        <p:txBody>
          <a:bodyPr/>
          <a:lstStyle/>
          <a:p>
            <a:r>
              <a:rPr lang="nb-NO" sz="4000" b="1" dirty="0">
                <a:solidFill>
                  <a:schemeClr val="accent1"/>
                </a:solidFill>
              </a:rPr>
              <a:t>Økte innskuddsmarginer i BM og </a:t>
            </a:r>
            <a:r>
              <a:rPr lang="nb-NO" sz="4000" b="1" dirty="0" smtClean="0">
                <a:solidFill>
                  <a:schemeClr val="accent1"/>
                </a:solidFill>
              </a:rPr>
              <a:t>reduserte </a:t>
            </a:r>
            <a:r>
              <a:rPr lang="nb-NO" sz="4000" b="1" dirty="0">
                <a:solidFill>
                  <a:schemeClr val="accent1"/>
                </a:solidFill>
              </a:rPr>
              <a:t>innskuddsmarginer i PM</a:t>
            </a:r>
            <a:endParaRPr lang="nb-NO" sz="4000" dirty="0">
              <a:solidFill>
                <a:schemeClr val="accent1"/>
              </a:solidFill>
            </a:endParaRPr>
          </a:p>
        </p:txBody>
      </p:sp>
      <p:sp>
        <p:nvSpPr>
          <p:cNvPr id="7" name="Rektangel 29"/>
          <p:cNvSpPr/>
          <p:nvPr/>
        </p:nvSpPr>
        <p:spPr>
          <a:xfrm>
            <a:off x="8114098" y="2308499"/>
            <a:ext cx="3991328" cy="1672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Utvikling gjennomsnittlig 3 </a:t>
            </a:r>
            <a:r>
              <a:rPr lang="nb-NO" sz="1867" dirty="0" err="1">
                <a:solidFill>
                  <a:schemeClr val="bg1"/>
                </a:solidFill>
              </a:rPr>
              <a:t>mnd</a:t>
            </a:r>
            <a:r>
              <a:rPr lang="nb-NO" sz="1867" dirty="0">
                <a:solidFill>
                  <a:schemeClr val="bg1"/>
                </a:solidFill>
              </a:rPr>
              <a:t> NIBOR:</a:t>
            </a:r>
            <a:endParaRPr lang="nb-NO" sz="2133" b="1" dirty="0">
              <a:solidFill>
                <a:schemeClr val="bg1"/>
              </a:solidFill>
            </a:endParaRPr>
          </a:p>
          <a:p>
            <a:pPr marL="456966" lvl="2" defTabSz="342734">
              <a:spcBef>
                <a:spcPts val="800"/>
              </a:spcBef>
              <a:buClr>
                <a:srgbClr val="CBCBCB"/>
              </a:buClr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8114098" y="3246562"/>
          <a:ext cx="4077903" cy="86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623"/>
                <a:gridCol w="595456"/>
                <a:gridCol w="595456"/>
                <a:gridCol w="595456"/>
                <a:gridCol w="595456"/>
                <a:gridCol w="595456"/>
              </a:tblGrid>
              <a:tr h="406400">
                <a:tc>
                  <a:txBody>
                    <a:bodyPr/>
                    <a:lstStyle/>
                    <a:p>
                      <a:endParaRPr lang="nb-NO" sz="13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2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4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  <a:tr h="447040">
                <a:tc>
                  <a:txBody>
                    <a:bodyPr/>
                    <a:lstStyle/>
                    <a:p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3 </a:t>
                      </a:r>
                      <a:r>
                        <a:rPr lang="nb-NO" sz="1100" dirty="0" err="1" smtClean="0">
                          <a:solidFill>
                            <a:schemeClr val="tx1"/>
                          </a:solidFill>
                        </a:rPr>
                        <a:t>mnd</a:t>
                      </a:r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 gj.sn. NIBOR</a:t>
                      </a:r>
                      <a:endParaRPr lang="nb-NO" sz="11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0,95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7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1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2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  <p:graphicFrame>
        <p:nvGraphicFramePr>
          <p:cNvPr id="11" name="Diagram 10"/>
          <p:cNvGraphicFramePr/>
          <p:nvPr>
            <p:extLst/>
          </p:nvPr>
        </p:nvGraphicFramePr>
        <p:xfrm>
          <a:off x="293420" y="1640815"/>
          <a:ext cx="7508129" cy="4965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862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ALmEzR3K0hx4fcDWi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qPSbKTv6F0tUbsSEj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6QbrvCSTaaU1nss9sr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XuAiyYSemGleNFhClQ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AAlwmCR1GmwJd07GzT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_tpWwARXeb1coqEWtn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SpareBank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35EA0"/>
      </a:accent1>
      <a:accent2>
        <a:srgbClr val="1F82BA"/>
      </a:accent2>
      <a:accent3>
        <a:srgbClr val="85C7E5"/>
      </a:accent3>
      <a:accent4>
        <a:srgbClr val="032A74"/>
      </a:accent4>
      <a:accent5>
        <a:srgbClr val="666666"/>
      </a:accent5>
      <a:accent6>
        <a:srgbClr val="999999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pareBank1_PPT_16.9_v4.potx" id="{D28ECF27-CD63-4048-91D8-7F5BA32C1B62}" vid="{22C99DBD-F9A7-4A81-A6F6-1F54E981E410}"/>
    </a:ext>
  </a:extLst>
</a:theme>
</file>

<file path=ppt/theme/theme2.xml><?xml version="1.0" encoding="utf-8"?>
<a:theme xmlns:a="http://schemas.openxmlformats.org/drawingml/2006/main" name="2_S1BV_Kickoff_27.01.15">
  <a:themeElements>
    <a:clrScheme name="S1bv">
      <a:dk1>
        <a:sysClr val="windowText" lastClr="000000"/>
      </a:dk1>
      <a:lt1>
        <a:srgbClr val="7FC6E8"/>
      </a:lt1>
      <a:dk2>
        <a:srgbClr val="44546A"/>
      </a:dk2>
      <a:lt2>
        <a:srgbClr val="E7E6E6"/>
      </a:lt2>
      <a:accent1>
        <a:srgbClr val="005AA4"/>
      </a:accent1>
      <a:accent2>
        <a:srgbClr val="7FC6E8"/>
      </a:accent2>
      <a:accent3>
        <a:srgbClr val="002776"/>
      </a:accent3>
      <a:accent4>
        <a:srgbClr val="CBCBCB"/>
      </a:accent4>
      <a:accent5>
        <a:srgbClr val="676767"/>
      </a:accent5>
      <a:accent6>
        <a:srgbClr val="D2BF9A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Point-mal S1BV" id="{5C4F2C8E-81EF-499C-A9C0-A87D6F8F82F5}" vid="{66E14936-1D49-4943-A539-94BDFA21136C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3</TotalTime>
  <Words>1254</Words>
  <Application>Microsoft Office PowerPoint</Application>
  <PresentationFormat>Widescreen</PresentationFormat>
  <Paragraphs>523</Paragraphs>
  <Slides>33</Slides>
  <Notes>27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3</vt:i4>
      </vt:variant>
    </vt:vector>
  </HeadingPairs>
  <TitlesOfParts>
    <vt:vector size="41" baseType="lpstr">
      <vt:lpstr>Arial</vt:lpstr>
      <vt:lpstr>Calibri</vt:lpstr>
      <vt:lpstr>Times New Roman</vt:lpstr>
      <vt:lpstr>Verdana</vt:lpstr>
      <vt:lpstr>Wingdings</vt:lpstr>
      <vt:lpstr>1_Office-tema</vt:lpstr>
      <vt:lpstr>2_S1BV_Kickoff_27.01.15</vt:lpstr>
      <vt:lpstr>think-cell Slide</vt:lpstr>
      <vt:lpstr>Regnskapspresentasjon  1. kvartal 2019 </vt:lpstr>
      <vt:lpstr>PowerPoint-presentasjon</vt:lpstr>
      <vt:lpstr>PowerPoint-presentasjon</vt:lpstr>
      <vt:lpstr>Godt resultat og god soliditet</vt:lpstr>
      <vt:lpstr>Godt resultat preget av engangseffekt  </vt:lpstr>
      <vt:lpstr>Resultat pr EK-bevis (morbank)</vt:lpstr>
      <vt:lpstr>Kvartalsvis inntektsutvikling</vt:lpstr>
      <vt:lpstr>Marginpress i 1. kvartal som følge av konkurransesituasjon og økt NIBOR - Renteheving besluttet i 2. kvartal</vt:lpstr>
      <vt:lpstr>Økte innskuddsmarginer i BM og reduserte innskuddsmarginer i PM</vt:lpstr>
      <vt:lpstr>Reduserte utlånsmarginer</vt:lpstr>
      <vt:lpstr>5 % økning i andre inntekter</vt:lpstr>
      <vt:lpstr>Driftskostnader</vt:lpstr>
      <vt:lpstr>Tapsutvikling -IFRS 9 implementert fra 2018</vt:lpstr>
      <vt:lpstr>Tapsavsetninger – utvikling </vt:lpstr>
      <vt:lpstr>EK-avkastning 15,9 % mot mål 10 %  </vt:lpstr>
      <vt:lpstr>PowerPoint-presentasjon</vt:lpstr>
      <vt:lpstr>Balanseutvikling</vt:lpstr>
      <vt:lpstr>Balanse </vt:lpstr>
      <vt:lpstr>Svakere utlånsvekst i 1. kvartal</vt:lpstr>
      <vt:lpstr> Sterk innskuddsvekst  i 1. kvartal og god innskuddsdekning  </vt:lpstr>
      <vt:lpstr>Kredittområdet</vt:lpstr>
      <vt:lpstr>PowerPoint-presentasjon</vt:lpstr>
      <vt:lpstr>Porteføljeutvikling </vt:lpstr>
      <vt:lpstr>Egenkapitalbevis</vt:lpstr>
      <vt:lpstr>Fundingstruktur 31.03.19 </vt:lpstr>
      <vt:lpstr>Obligasjonsportefølje 31.03.19 </vt:lpstr>
      <vt:lpstr> </vt:lpstr>
      <vt:lpstr>Datterselskaper</vt:lpstr>
      <vt:lpstr>Datterselskaper  - positiv utvikling</vt:lpstr>
      <vt:lpstr>Øvrige finansielle tema</vt:lpstr>
      <vt:lpstr>Kursutvikling SBVG</vt:lpstr>
      <vt:lpstr>God kursutvikling og høy direkteavkastning SBVG</vt:lpstr>
      <vt:lpstr>Utsikter 2019</vt:lpstr>
    </vt:vector>
  </TitlesOfParts>
  <Company>SpareBank1 Allians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jon, verdigrunnlag, verdier og kultur – innhold og prosess</dc:title>
  <dc:creator>Vibeke B Andersen</dc:creator>
  <cp:lastModifiedBy>Ola Kjetil Siqveland</cp:lastModifiedBy>
  <cp:revision>161</cp:revision>
  <cp:lastPrinted>2017-11-23T13:28:07Z</cp:lastPrinted>
  <dcterms:created xsi:type="dcterms:W3CDTF">2017-05-22T10:45:49Z</dcterms:created>
  <dcterms:modified xsi:type="dcterms:W3CDTF">2019-05-10T13:49:47Z</dcterms:modified>
</cp:coreProperties>
</file>